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</p:sldMasterIdLst>
  <p:notesMasterIdLst>
    <p:notesMasterId r:id="rId13"/>
  </p:notesMasterIdLst>
  <p:sldIdLst>
    <p:sldId id="285" r:id="rId5"/>
    <p:sldId id="286" r:id="rId6"/>
    <p:sldId id="287" r:id="rId7"/>
    <p:sldId id="288" r:id="rId8"/>
    <p:sldId id="289" r:id="rId9"/>
    <p:sldId id="290" r:id="rId10"/>
    <p:sldId id="291" r:id="rId11"/>
    <p:sldId id="292" r:id="rId12"/>
  </p:sldIdLst>
  <p:sldSz cx="12192000" cy="6858000"/>
  <p:notesSz cx="6858000" cy="9144000"/>
  <p:defaultTextStyle>
    <a:defPPr>
      <a:defRPr lang="de-DE"/>
    </a:defPPr>
    <a:lvl1pPr marL="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0592AFF-2E58-328F-9DC7-33963FBD52A1}" v="25" dt="2023-04-21T10:40:25.69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6" autoAdjust="0"/>
    <p:restoredTop sz="94660"/>
  </p:normalViewPr>
  <p:slideViewPr>
    <p:cSldViewPr snapToGrid="0">
      <p:cViewPr varScale="1">
        <p:scale>
          <a:sx n="93" d="100"/>
          <a:sy n="93" d="100"/>
        </p:scale>
        <p:origin x="245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reher, Petra" userId="S::petra.dreher@trumpf.com::53e9cd50-e31f-4143-9b40-676a52abb06a" providerId="AD" clId="Web-{50592AFF-2E58-328F-9DC7-33963FBD52A1}"/>
    <pc:docChg chg="modSld">
      <pc:chgData name="Dreher, Petra" userId="S::petra.dreher@trumpf.com::53e9cd50-e31f-4143-9b40-676a52abb06a" providerId="AD" clId="Web-{50592AFF-2E58-328F-9DC7-33963FBD52A1}" dt="2023-04-21T10:40:25.695" v="24" actId="14100"/>
      <pc:docMkLst>
        <pc:docMk/>
      </pc:docMkLst>
      <pc:sldChg chg="modSp">
        <pc:chgData name="Dreher, Petra" userId="S::petra.dreher@trumpf.com::53e9cd50-e31f-4143-9b40-676a52abb06a" providerId="AD" clId="Web-{50592AFF-2E58-328F-9DC7-33963FBD52A1}" dt="2023-04-21T10:38:18.426" v="0" actId="14100"/>
        <pc:sldMkLst>
          <pc:docMk/>
          <pc:sldMk cId="3850339324" sldId="286"/>
        </pc:sldMkLst>
        <pc:picChg chg="mod">
          <ac:chgData name="Dreher, Petra" userId="S::petra.dreher@trumpf.com::53e9cd50-e31f-4143-9b40-676a52abb06a" providerId="AD" clId="Web-{50592AFF-2E58-328F-9DC7-33963FBD52A1}" dt="2023-04-21T10:38:18.426" v="0" actId="14100"/>
          <ac:picMkLst>
            <pc:docMk/>
            <pc:sldMk cId="3850339324" sldId="286"/>
            <ac:picMk id="3" creationId="{00000000-0000-0000-0000-000000000000}"/>
          </ac:picMkLst>
        </pc:picChg>
      </pc:sldChg>
      <pc:sldChg chg="modSp">
        <pc:chgData name="Dreher, Petra" userId="S::petra.dreher@trumpf.com::53e9cd50-e31f-4143-9b40-676a52abb06a" providerId="AD" clId="Web-{50592AFF-2E58-328F-9DC7-33963FBD52A1}" dt="2023-04-21T10:39:05.709" v="6" actId="1076"/>
        <pc:sldMkLst>
          <pc:docMk/>
          <pc:sldMk cId="1801136323" sldId="287"/>
        </pc:sldMkLst>
        <pc:picChg chg="mod modCrop">
          <ac:chgData name="Dreher, Petra" userId="S::petra.dreher@trumpf.com::53e9cd50-e31f-4143-9b40-676a52abb06a" providerId="AD" clId="Web-{50592AFF-2E58-328F-9DC7-33963FBD52A1}" dt="2023-04-21T10:39:05.709" v="6" actId="1076"/>
          <ac:picMkLst>
            <pc:docMk/>
            <pc:sldMk cId="1801136323" sldId="287"/>
            <ac:picMk id="5" creationId="{00000000-0000-0000-0000-000000000000}"/>
          </ac:picMkLst>
        </pc:picChg>
      </pc:sldChg>
      <pc:sldChg chg="modSp">
        <pc:chgData name="Dreher, Petra" userId="S::petra.dreher@trumpf.com::53e9cd50-e31f-4143-9b40-676a52abb06a" providerId="AD" clId="Web-{50592AFF-2E58-328F-9DC7-33963FBD52A1}" dt="2023-04-21T10:39:25.319" v="10" actId="1076"/>
        <pc:sldMkLst>
          <pc:docMk/>
          <pc:sldMk cId="2814782403" sldId="288"/>
        </pc:sldMkLst>
        <pc:picChg chg="mod modCrop">
          <ac:chgData name="Dreher, Petra" userId="S::petra.dreher@trumpf.com::53e9cd50-e31f-4143-9b40-676a52abb06a" providerId="AD" clId="Web-{50592AFF-2E58-328F-9DC7-33963FBD52A1}" dt="2023-04-21T10:39:25.319" v="10" actId="1076"/>
          <ac:picMkLst>
            <pc:docMk/>
            <pc:sldMk cId="2814782403" sldId="288"/>
            <ac:picMk id="3" creationId="{00000000-0000-0000-0000-000000000000}"/>
          </ac:picMkLst>
        </pc:picChg>
      </pc:sldChg>
      <pc:sldChg chg="modSp">
        <pc:chgData name="Dreher, Petra" userId="S::petra.dreher@trumpf.com::53e9cd50-e31f-4143-9b40-676a52abb06a" providerId="AD" clId="Web-{50592AFF-2E58-328F-9DC7-33963FBD52A1}" dt="2023-04-21T10:39:39.991" v="13" actId="14100"/>
        <pc:sldMkLst>
          <pc:docMk/>
          <pc:sldMk cId="2534744868" sldId="289"/>
        </pc:sldMkLst>
        <pc:picChg chg="mod modCrop">
          <ac:chgData name="Dreher, Petra" userId="S::petra.dreher@trumpf.com::53e9cd50-e31f-4143-9b40-676a52abb06a" providerId="AD" clId="Web-{50592AFF-2E58-328F-9DC7-33963FBD52A1}" dt="2023-04-21T10:39:39.991" v="13" actId="14100"/>
          <ac:picMkLst>
            <pc:docMk/>
            <pc:sldMk cId="2534744868" sldId="289"/>
            <ac:picMk id="3" creationId="{00000000-0000-0000-0000-000000000000}"/>
          </ac:picMkLst>
        </pc:picChg>
      </pc:sldChg>
      <pc:sldChg chg="modSp">
        <pc:chgData name="Dreher, Petra" userId="S::petra.dreher@trumpf.com::53e9cd50-e31f-4143-9b40-676a52abb06a" providerId="AD" clId="Web-{50592AFF-2E58-328F-9DC7-33963FBD52A1}" dt="2023-04-21T10:39:53.335" v="16" actId="14100"/>
        <pc:sldMkLst>
          <pc:docMk/>
          <pc:sldMk cId="2505751781" sldId="290"/>
        </pc:sldMkLst>
        <pc:picChg chg="mod modCrop">
          <ac:chgData name="Dreher, Petra" userId="S::petra.dreher@trumpf.com::53e9cd50-e31f-4143-9b40-676a52abb06a" providerId="AD" clId="Web-{50592AFF-2E58-328F-9DC7-33963FBD52A1}" dt="2023-04-21T10:39:53.335" v="16" actId="14100"/>
          <ac:picMkLst>
            <pc:docMk/>
            <pc:sldMk cId="2505751781" sldId="290"/>
            <ac:picMk id="3" creationId="{00000000-0000-0000-0000-000000000000}"/>
          </ac:picMkLst>
        </pc:picChg>
      </pc:sldChg>
      <pc:sldChg chg="modSp">
        <pc:chgData name="Dreher, Petra" userId="S::petra.dreher@trumpf.com::53e9cd50-e31f-4143-9b40-676a52abb06a" providerId="AD" clId="Web-{50592AFF-2E58-328F-9DC7-33963FBD52A1}" dt="2023-04-21T10:40:13.289" v="21" actId="1076"/>
        <pc:sldMkLst>
          <pc:docMk/>
          <pc:sldMk cId="1510002142" sldId="291"/>
        </pc:sldMkLst>
        <pc:picChg chg="mod modCrop">
          <ac:chgData name="Dreher, Petra" userId="S::petra.dreher@trumpf.com::53e9cd50-e31f-4143-9b40-676a52abb06a" providerId="AD" clId="Web-{50592AFF-2E58-328F-9DC7-33963FBD52A1}" dt="2023-04-21T10:40:13.289" v="21" actId="1076"/>
          <ac:picMkLst>
            <pc:docMk/>
            <pc:sldMk cId="1510002142" sldId="291"/>
            <ac:picMk id="3" creationId="{00000000-0000-0000-0000-000000000000}"/>
          </ac:picMkLst>
        </pc:picChg>
      </pc:sldChg>
      <pc:sldChg chg="modSp">
        <pc:chgData name="Dreher, Petra" userId="S::petra.dreher@trumpf.com::53e9cd50-e31f-4143-9b40-676a52abb06a" providerId="AD" clId="Web-{50592AFF-2E58-328F-9DC7-33963FBD52A1}" dt="2023-04-21T10:40:25.695" v="24" actId="14100"/>
        <pc:sldMkLst>
          <pc:docMk/>
          <pc:sldMk cId="2248147269" sldId="292"/>
        </pc:sldMkLst>
        <pc:picChg chg="mod modCrop">
          <ac:chgData name="Dreher, Petra" userId="S::petra.dreher@trumpf.com::53e9cd50-e31f-4143-9b40-676a52abb06a" providerId="AD" clId="Web-{50592AFF-2E58-328F-9DC7-33963FBD52A1}" dt="2023-04-21T10:40:25.695" v="24" actId="14100"/>
          <ac:picMkLst>
            <pc:docMk/>
            <pc:sldMk cId="2248147269" sldId="292"/>
            <ac:picMk id="3" creationId="{00000000-0000-0000-0000-000000000000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E88769-3DA9-42DD-B5C9-2A3F92FC6088}" type="datetimeFigureOut">
              <a:rPr lang="de-DE" smtClean="0"/>
              <a:t>21.04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41210B-3F30-4A42-9040-32C35EC3300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03096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jpeg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2.jpeg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2.jpeg"/><Relationship Id="rId4" Type="http://schemas.openxmlformats.org/officeDocument/2006/relationships/image" Target="../media/image6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2.jpeg"/><Relationship Id="rId4" Type="http://schemas.openxmlformats.org/officeDocument/2006/relationships/image" Target="../media/image6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2.jpeg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2.jpeg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.jpeg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2.jpeg"/><Relationship Id="rId4" Type="http://schemas.openxmlformats.org/officeDocument/2006/relationships/image" Target="../media/image6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2.jpeg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.jpeg"/><Relationship Id="rId4" Type="http://schemas.openxmlformats.org/officeDocument/2006/relationships/image" Target="../media/image6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6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6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3.emf"/><Relationship Id="rId4" Type="http://schemas.openxmlformats.org/officeDocument/2006/relationships/hyperlink" Target="http://www.trumpf.com/" TargetMode="Externa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3.emf"/><Relationship Id="rId4" Type="http://schemas.openxmlformats.org/officeDocument/2006/relationships/hyperlink" Target="http://www.trumpf.com/" TargetMode="Externa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hyperlink" Target="http://www.trumpf.com/" TargetMode="External"/><Relationship Id="rId5" Type="http://schemas.openxmlformats.org/officeDocument/2006/relationships/image" Target="../media/image8.jpeg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3.emf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73F181C8-B255-4F7E-9059-497902FF962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172201 h 6858000"/>
              <a:gd name="connsiteX5" fmla="*/ 5400000 w 12192000"/>
              <a:gd name="connsiteY5" fmla="*/ 6172201 h 6858000"/>
              <a:gd name="connsiteX6" fmla="*/ 5400000 w 12192000"/>
              <a:gd name="connsiteY6" fmla="*/ 3076575 h 6858000"/>
              <a:gd name="connsiteX7" fmla="*/ 0 w 12192000"/>
              <a:gd name="connsiteY7" fmla="*/ 3076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172201"/>
                </a:lnTo>
                <a:lnTo>
                  <a:pt x="5400000" y="6172201"/>
                </a:lnTo>
                <a:lnTo>
                  <a:pt x="5400000" y="3076575"/>
                </a:lnTo>
                <a:lnTo>
                  <a:pt x="0" y="3076575"/>
                </a:lnTo>
                <a:close/>
              </a:path>
            </a:pathLst>
          </a:custGeom>
          <a:solidFill>
            <a:schemeClr val="tx2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400" b="0">
                <a:solidFill>
                  <a:schemeClr val="accent4"/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805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4020354"/>
            <a:ext cx="3040742" cy="276999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6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sz="1800" b="0" i="0" u="none" strike="noStrike" dirty="0">
                <a:solidFill>
                  <a:srgbClr val="333333"/>
                </a:solidFill>
                <a:effectLst/>
                <a:latin typeface="Segoe UI" panose="020B0502040204020203" pitchFamily="34" charset="0"/>
              </a:rPr>
              <a:t>Lean Lernreise | 27.04.2023</a:t>
            </a:r>
            <a:r>
              <a:rPr lang="de-DE" sz="1800" b="0" i="0" dirty="0">
                <a:solidFill>
                  <a:srgbClr val="333333"/>
                </a:solidFill>
                <a:effectLst/>
                <a:latin typeface="Segoe UI" panose="020B0502040204020203" pitchFamily="34" charset="0"/>
              </a:rPr>
              <a:t>​</a:t>
            </a:r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8" y="4297496"/>
            <a:ext cx="4838494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Masterplanung TRUMPF Hettingen</a:t>
            </a:r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416548" y="5619956"/>
            <a:ext cx="4721984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5793118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Steffen Braun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7526E62-6588-6F47-9289-4B6B7A34B82A}"/>
              </a:ext>
            </a:extLst>
          </p:cNvPr>
          <p:cNvGrpSpPr/>
          <p:nvPr userDrawn="1"/>
        </p:nvGrpSpPr>
        <p:grpSpPr>
          <a:xfrm>
            <a:off x="503237" y="3168636"/>
            <a:ext cx="793338" cy="793338"/>
            <a:chOff x="11143231" y="5812561"/>
            <a:chExt cx="793338" cy="793338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AFA692CF-E0B2-974C-B9E2-83D226AB67B0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latin typeface="+mn-lt"/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5EDBE238-57E6-D34D-A212-4193F22950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  <p:sp>
        <p:nvSpPr>
          <p:cNvPr id="4" name="Rechteck 3">
            <a:extLst>
              <a:ext uri="{FF2B5EF4-FFF2-40B4-BE49-F238E27FC236}">
                <a16:creationId xmlns:a16="http://schemas.microsoft.com/office/drawing/2014/main" id="{8BFEC520-D42B-47D8-AB4B-C9FAE3D8AE56}"/>
              </a:ext>
            </a:extLst>
          </p:cNvPr>
          <p:cNvSpPr/>
          <p:nvPr userDrawn="1"/>
        </p:nvSpPr>
        <p:spPr>
          <a:xfrm>
            <a:off x="11143231" y="5812561"/>
            <a:ext cx="803277" cy="793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E4AFDA7-75EF-4613-A184-815FC9F1A475}"/>
              </a:ext>
            </a:extLst>
          </p:cNvPr>
          <p:cNvSpPr/>
          <p:nvPr userDrawn="1"/>
        </p:nvSpPr>
        <p:spPr>
          <a:xfrm>
            <a:off x="11143231" y="5812561"/>
            <a:ext cx="803277" cy="793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66934463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EDC1379C-8CED-41CA-8430-72D9E90D71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3B797276-7B97-44E6-80A7-8A978EF266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3" name="Datumsplatzhalter 8">
            <a:extLst>
              <a:ext uri="{FF2B5EF4-FFF2-40B4-BE49-F238E27FC236}">
                <a16:creationId xmlns:a16="http://schemas.microsoft.com/office/drawing/2014/main" id="{5892E75D-6086-44ED-A3F2-C52076A2B0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05A9A9DD-81D8-4A17-A9F9-47B02F25907A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4976901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Bild-Tex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3954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AC9107A1-72E3-1644-8027-D7B089F5146B}"/>
              </a:ext>
            </a:extLst>
          </p:cNvPr>
          <p:cNvSpPr>
            <a:spLocks noGrp="1"/>
          </p:cNvSpPr>
          <p:nvPr>
            <p:ph type="pic" idx="19" hasCustomPrompt="1"/>
          </p:nvPr>
        </p:nvSpPr>
        <p:spPr>
          <a:xfrm>
            <a:off x="0" y="1"/>
            <a:ext cx="5664200" cy="6858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C3864067-953C-644E-BB2F-9707B5D6D5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3999" y="333375"/>
            <a:ext cx="5664200" cy="435898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DD003BDC-D64F-C349-9E09-52BB53F4D9F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085915" y="1378228"/>
            <a:ext cx="5681809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7F5FA6DA-3ED9-534E-8A19-DA2C8DE56A77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085915" y="3482616"/>
            <a:ext cx="5682300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C959BF03-5949-4783-91F7-72F3EB1F27E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86683" y="1865390"/>
            <a:ext cx="5664935" cy="14112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789210D-C9B4-49FA-9612-E029C3523EA7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103523" y="4016118"/>
            <a:ext cx="5664935" cy="17628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65E52781-09D3-4E47-B6B4-5A34F69E0F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16638" y="6399215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0" name="Fußzeilenplatzhalter 3">
            <a:extLst>
              <a:ext uri="{FF2B5EF4-FFF2-40B4-BE49-F238E27FC236}">
                <a16:creationId xmlns:a16="http://schemas.microsoft.com/office/drawing/2014/main" id="{8441FF80-2419-4C84-8F6C-13192E1A6C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97361" y="6399216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1" name="Datumsplatzhalter 8">
            <a:extLst>
              <a:ext uri="{FF2B5EF4-FFF2-40B4-BE49-F238E27FC236}">
                <a16:creationId xmlns:a16="http://schemas.microsoft.com/office/drawing/2014/main" id="{47E42470-D049-41AB-8A43-A2E0B46A97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03174" y="6402391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651D87E7-D9F0-49BA-87F3-201F4AF3555F}" type="datetime1">
              <a:rPr lang="de-DE"/>
              <a:pPr/>
              <a:t>21.04.2023</a:t>
            </a:fld>
            <a:endParaRPr lang="de-DE" dirty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FF5278A0-69C0-404C-92B8-95954A87BD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85914" y="802853"/>
            <a:ext cx="5681809" cy="3104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311886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Bilder links + Textbaustein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9A594C-56E4-440E-AAB5-539DD10781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62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9A594C-56E4-440E-AAB5-539DD1078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327D00DF-9EDC-41CE-BFD9-C2C6C9E53162}"/>
              </a:ext>
            </a:extLst>
          </p:cNvPr>
          <p:cNvSpPr/>
          <p:nvPr userDrawn="1"/>
        </p:nvSpPr>
        <p:spPr>
          <a:xfrm>
            <a:off x="0" y="0"/>
            <a:ext cx="300038" cy="2889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DC4A3E0-6C0D-EB4D-833B-5856DFA8AEE6}"/>
              </a:ext>
            </a:extLst>
          </p:cNvPr>
          <p:cNvSpPr/>
          <p:nvPr userDrawn="1"/>
        </p:nvSpPr>
        <p:spPr>
          <a:xfrm>
            <a:off x="0" y="0"/>
            <a:ext cx="75255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6FAD938C-AD49-F544-BA01-63F44E5FECFA}"/>
              </a:ext>
            </a:extLst>
          </p:cNvPr>
          <p:cNvSpPr>
            <a:spLocks noGrp="1"/>
          </p:cNvSpPr>
          <p:nvPr>
            <p:ph type="pic" idx="19" hasCustomPrompt="1"/>
          </p:nvPr>
        </p:nvSpPr>
        <p:spPr>
          <a:xfrm>
            <a:off x="0" y="0"/>
            <a:ext cx="5664200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F55CC908-F16A-274A-B039-6DBD18AB914D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0" y="3429000"/>
            <a:ext cx="5664200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C603A484-4D38-5B4B-A2A0-E0BD4B4E03FC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9" y="3429000"/>
            <a:ext cx="57576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582C89E3-815E-49D3-8AEC-F4E35FEF38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03938" y="6399215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0" name="Fußzeilenplatzhalter 3">
            <a:extLst>
              <a:ext uri="{FF2B5EF4-FFF2-40B4-BE49-F238E27FC236}">
                <a16:creationId xmlns:a16="http://schemas.microsoft.com/office/drawing/2014/main" id="{2A8504A7-0A5A-40BE-8AFC-C8FF122450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84661" y="6399216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1" name="Datumsplatzhalter 8">
            <a:extLst>
              <a:ext uri="{FF2B5EF4-FFF2-40B4-BE49-F238E27FC236}">
                <a16:creationId xmlns:a16="http://schemas.microsoft.com/office/drawing/2014/main" id="{9AB4B1FB-4818-4EBC-9655-8FF3990886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90474" y="6402391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75201BF-A1E7-4EDD-9CED-6099F17A172E}" type="datetime1">
              <a:rPr lang="de-DE"/>
              <a:pPr/>
              <a:t>21.04.2023</a:t>
            </a:fld>
            <a:endParaRPr lang="de-DE" dirty="0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2B894C8-F58F-4291-897B-A55FFFD2FA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3999" y="333375"/>
            <a:ext cx="5664200" cy="435898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C9528097-F9E0-4F66-A784-43A007977ED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085915" y="1378228"/>
            <a:ext cx="5681809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1C9B3D6C-6404-4900-903A-D116B2CACD22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085915" y="3482616"/>
            <a:ext cx="5682300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6E98D08E-C20A-4EB1-AFF0-07BD6E5C538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86683" y="1865390"/>
            <a:ext cx="5664935" cy="14112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EAC1FED0-CDB1-43C3-83B1-687B508A23D0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103523" y="4016118"/>
            <a:ext cx="5664935" cy="17628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7DE4A5B0-F04C-42A8-B34A-ECA66E93A3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85914" y="802853"/>
            <a:ext cx="5681809" cy="3104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526225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Text ohne Hintergrund links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10F0F952-2419-4A15-AC77-813AAA7211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3174"/>
            <a:ext cx="6096000" cy="6854821"/>
          </a:xfrm>
          <a:custGeom>
            <a:avLst/>
            <a:gdLst>
              <a:gd name="connsiteX0" fmla="*/ 5372099 w 6096000"/>
              <a:gd name="connsiteY0" fmla="*/ 6128205 h 6854821"/>
              <a:gd name="connsiteX1" fmla="*/ 5372099 w 6096000"/>
              <a:gd name="connsiteY1" fmla="*/ 6660697 h 6854821"/>
              <a:gd name="connsiteX2" fmla="*/ 5904591 w 6096000"/>
              <a:gd name="connsiteY2" fmla="*/ 6660697 h 6854821"/>
              <a:gd name="connsiteX3" fmla="*/ 5904591 w 6096000"/>
              <a:gd name="connsiteY3" fmla="*/ 6128205 h 6854821"/>
              <a:gd name="connsiteX4" fmla="*/ 0 w 6096000"/>
              <a:gd name="connsiteY4" fmla="*/ 0 h 6854821"/>
              <a:gd name="connsiteX5" fmla="*/ 6096000 w 6096000"/>
              <a:gd name="connsiteY5" fmla="*/ 0 h 6854821"/>
              <a:gd name="connsiteX6" fmla="*/ 6096000 w 6096000"/>
              <a:gd name="connsiteY6" fmla="*/ 6854821 h 6854821"/>
              <a:gd name="connsiteX7" fmla="*/ 0 w 6096000"/>
              <a:gd name="connsiteY7" fmla="*/ 6854821 h 6854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4821">
                <a:moveTo>
                  <a:pt x="5372099" y="6128205"/>
                </a:moveTo>
                <a:lnTo>
                  <a:pt x="5372099" y="6660697"/>
                </a:lnTo>
                <a:lnTo>
                  <a:pt x="5904591" y="6660697"/>
                </a:lnTo>
                <a:lnTo>
                  <a:pt x="5904591" y="6128205"/>
                </a:ln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4821"/>
                </a:lnTo>
                <a:lnTo>
                  <a:pt x="0" y="6854821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7514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648D76BE-D7BB-054B-939E-03F12B81668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28805" y="1338468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7A6900E-2103-0E4A-BADA-73F03F00FA9E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28805" y="3660923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B32E3D2-3756-DC48-AAD3-DC06050CE6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351928"/>
            <a:ext cx="5148262" cy="419597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C185099C-4D22-408C-B783-C83493FA514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0624" y="1934962"/>
            <a:ext cx="5148262" cy="14940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9B950335-33C7-4174-B814-7F1D09EB8FC1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35816" y="4286249"/>
            <a:ext cx="5148262" cy="16097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EF47FE27-85AE-4D2E-970A-B8617AC377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ED3A61B7-AF6D-4802-9BC2-D6C1E0F850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3996187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3" name="Datumsplatzhalter 8">
            <a:extLst>
              <a:ext uri="{FF2B5EF4-FFF2-40B4-BE49-F238E27FC236}">
                <a16:creationId xmlns:a16="http://schemas.microsoft.com/office/drawing/2014/main" id="{981CBBCE-2F50-4DAA-8EEF-BE13E37894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5829F20E-DE47-4FDB-9B1A-C0B341FD08E6}" type="datetime1">
              <a:rPr lang="de-DE"/>
              <a:pPr/>
              <a:t>21.04.2023</a:t>
            </a:fld>
            <a:endParaRPr lang="de-DE" dirty="0"/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18D5F6A4-0372-43CB-9E55-86B90FB200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3315" y="802853"/>
            <a:ext cx="5140886" cy="3104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076795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:1 Bild-Tex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333C2A2D-4CA3-DF47-8E60-5FF58CF3A733}"/>
              </a:ext>
            </a:extLst>
          </p:cNvPr>
          <p:cNvSpPr>
            <a:spLocks noGrp="1"/>
          </p:cNvSpPr>
          <p:nvPr>
            <p:ph type="pic" idx="19" hasCustomPrompt="1"/>
          </p:nvPr>
        </p:nvSpPr>
        <p:spPr>
          <a:xfrm>
            <a:off x="6096000" y="0"/>
            <a:ext cx="6096002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BE2BDB5E-62B9-D04A-B1DD-8A52A7DB93A2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096000" y="3429000"/>
            <a:ext cx="6096002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077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B09FAE1E-C18D-CB46-94C2-5CC269BAE83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cxnSp>
        <p:nvCxnSpPr>
          <p:cNvPr id="24" name="Gerade Verbindung 2">
            <a:extLst>
              <a:ext uri="{FF2B5EF4-FFF2-40B4-BE49-F238E27FC236}">
                <a16:creationId xmlns:a16="http://schemas.microsoft.com/office/drawing/2014/main" id="{3359F94B-516A-4AD9-887B-36C3FE5A9DC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3429000"/>
            <a:ext cx="6096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liennummernplatzhalter 5">
            <a:extLst>
              <a:ext uri="{FF2B5EF4-FFF2-40B4-BE49-F238E27FC236}">
                <a16:creationId xmlns:a16="http://schemas.microsoft.com/office/drawing/2014/main" id="{E82BC249-56FB-4B16-99D0-ED022CE2D9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9" name="Fußzeilenplatzhalter 3">
            <a:extLst>
              <a:ext uri="{FF2B5EF4-FFF2-40B4-BE49-F238E27FC236}">
                <a16:creationId xmlns:a16="http://schemas.microsoft.com/office/drawing/2014/main" id="{BA60D1CF-87A2-4E5C-B614-BB50A6BB50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0" name="Datumsplatzhalter 8">
            <a:extLst>
              <a:ext uri="{FF2B5EF4-FFF2-40B4-BE49-F238E27FC236}">
                <a16:creationId xmlns:a16="http://schemas.microsoft.com/office/drawing/2014/main" id="{8DF9F61A-EB57-4769-AE60-5C6DB24E57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FA2D4EB9-19BA-4E0D-AE78-FFC6C11243F4}" type="datetime1">
              <a:rPr lang="de-DE"/>
              <a:pPr/>
              <a:t>21.04.2023</a:t>
            </a:fld>
            <a:endParaRPr lang="de-DE" dirty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5EC19740-1A73-46B1-A268-0244F3EED087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28805" y="1338468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7FC153D1-3495-4C04-8820-5C2E01F23017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28805" y="3660923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2F8F73D1-76AF-4234-BEF0-05B3CBCD565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351928"/>
            <a:ext cx="5148262" cy="419597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E28FED90-7092-4504-B28A-53E8B7D9CE9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0624" y="1934962"/>
            <a:ext cx="5148262" cy="14940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F2C79B53-C131-48B2-9587-5BB682111BB4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35816" y="4286249"/>
            <a:ext cx="5148262" cy="16097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3AA42055-C1CF-4A99-9A9F-4C05334359B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3315" y="802853"/>
            <a:ext cx="5140886" cy="3104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475463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r links + Tex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5BBCA1C-5361-4EFC-ADD1-319A28D03D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7228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5BBCA1C-5361-4EFC-ADD1-319A28D03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B09FAE1E-C18D-CB46-94C2-5CC269BAE83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18" name="Bildplatzhalter 31">
            <a:extLst>
              <a:ext uri="{FF2B5EF4-FFF2-40B4-BE49-F238E27FC236}">
                <a16:creationId xmlns:a16="http://schemas.microsoft.com/office/drawing/2014/main" id="{34189E02-004A-3B45-B64D-B17613D553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345700" cy="6839277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5A36E4C5-B34F-A34D-B704-44E7C5E02A00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809698" y="1473639"/>
            <a:ext cx="7866365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9A29746E-65FE-F542-B2CE-F671A8834222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3809699" y="3747051"/>
            <a:ext cx="7866365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EF23026A-C489-5144-8F71-E23153F1C26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08158" y="333376"/>
            <a:ext cx="7901402" cy="461325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FBFA4FDA-F0D7-4446-89CE-C26F34C8004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09698" y="2058082"/>
            <a:ext cx="7866365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25D26A09-7D14-40D0-A365-2AEE6BBCCDC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827462" y="4299296"/>
            <a:ext cx="7866365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</a:t>
            </a:r>
            <a:r>
              <a:rPr lang="de-DE" dirty="0" err="1"/>
              <a:t>secon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</a:t>
            </a:r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7CF7466D-0F01-40F1-94E3-AF5BB86D8A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49688" y="6390852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7" name="Fußzeilenplatzhalter 3">
            <a:extLst>
              <a:ext uri="{FF2B5EF4-FFF2-40B4-BE49-F238E27FC236}">
                <a16:creationId xmlns:a16="http://schemas.microsoft.com/office/drawing/2014/main" id="{4EAA6B20-26A8-45CC-9C95-68B14A328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30411" y="6390853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0" name="Datumsplatzhalter 8">
            <a:extLst>
              <a:ext uri="{FF2B5EF4-FFF2-40B4-BE49-F238E27FC236}">
                <a16:creationId xmlns:a16="http://schemas.microsoft.com/office/drawing/2014/main" id="{2FF53B4A-334E-4924-BF1C-438DB6679D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36224" y="6394028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2FD6BCE0-8D57-4164-8B9A-3CF88061FB0C}" type="datetime1">
              <a:rPr lang="de-DE"/>
              <a:pPr/>
              <a:t>21.04.2023</a:t>
            </a:fld>
            <a:endParaRPr lang="de-DE" dirty="0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A9134A3C-35B8-4F42-981D-9B36A1B9E63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950" y="831428"/>
            <a:ext cx="7918610" cy="305989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960425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11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links + Tex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DBA651D-E114-4607-9889-C311A38131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8225" y="-19051"/>
            <a:ext cx="3362151" cy="3448035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2" name="Bildplatzhalter 5">
            <a:extLst>
              <a:ext uri="{FF2B5EF4-FFF2-40B4-BE49-F238E27FC236}">
                <a16:creationId xmlns:a16="http://schemas.microsoft.com/office/drawing/2014/main" id="{61E63147-F22B-4A04-A594-4BBFA5D7C5B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8224" y="3428999"/>
            <a:ext cx="3362151" cy="3419475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5E42E98-370F-437C-AD70-D37D3BE5AC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888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5E42E98-370F-437C-AD70-D37D3BE5A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EC3C38D3-F2CD-F847-854A-F18BC84ED701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9" y="3429000"/>
            <a:ext cx="34098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E45B7302-96D1-45E3-82A1-018C8521A1D8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827463" y="1493517"/>
            <a:ext cx="784860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D443E838-AED4-45A0-A99B-6CE8316CABF4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3827463" y="3689901"/>
            <a:ext cx="784860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5DCE0CC1-357A-4170-AD6E-9341D889E58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950" y="333375"/>
            <a:ext cx="7918610" cy="498053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DB07444C-CE66-4BC0-B330-E8F4D05703C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27462" y="2058082"/>
            <a:ext cx="784860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marL="0" marR="0" lvl="1" indent="17780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50000"/>
                </a:schemeClr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de-DE" dirty="0"/>
              <a:t> Zweite Ebene I 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Thir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98F4914-3738-4F17-807C-2D2F0CDD958A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827463" y="4251671"/>
            <a:ext cx="784860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marL="0" marR="0" lvl="1" indent="17780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50000"/>
                </a:schemeClr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de-DE" dirty="0"/>
              <a:t> Zweite Ebene I 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Thir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01E1C9EC-540D-4357-872A-5F104DBD7D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4968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15D42A8F-4D51-4FA1-AE6D-2460CB2B65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3041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6" name="Datumsplatzhalter 8">
            <a:extLst>
              <a:ext uri="{FF2B5EF4-FFF2-40B4-BE49-F238E27FC236}">
                <a16:creationId xmlns:a16="http://schemas.microsoft.com/office/drawing/2014/main" id="{0E903174-228A-48D5-BA67-1EB0CAE8BD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3622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629EA9BA-12B1-41E5-BB55-6CDC51B393B7}" type="datetime1">
              <a:rPr lang="de-DE"/>
              <a:pPr/>
              <a:t>21.04.2023</a:t>
            </a:fld>
            <a:endParaRPr lang="de-DE" dirty="0"/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3528DD15-ACA4-44FC-888A-5C7C12A3717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950" y="831428"/>
            <a:ext cx="7918610" cy="305989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844936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411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8A865AB-1893-4A5F-8F75-A449F29E86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2559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8A865AB-1893-4A5F-8F75-A449F29E86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ED435E36-27B9-412A-B19D-8E5E92512496}"/>
              </a:ext>
            </a:extLst>
          </p:cNvPr>
          <p:cNvSpPr/>
          <p:nvPr userDrawn="1"/>
        </p:nvSpPr>
        <p:spPr>
          <a:xfrm>
            <a:off x="8446501" y="6369049"/>
            <a:ext cx="1789699" cy="3059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1" name="Bildplatzhalter 31">
            <a:extLst>
              <a:ext uri="{FF2B5EF4-FFF2-40B4-BE49-F238E27FC236}">
                <a16:creationId xmlns:a16="http://schemas.microsoft.com/office/drawing/2014/main" id="{05BE5A14-57C4-E144-8C66-19278E73576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46300" y="0"/>
            <a:ext cx="3345700" cy="6839277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09FAE1E-C18D-CB46-94C2-5CC269BAE83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49049" y="6102804"/>
            <a:ext cx="532492" cy="532492"/>
          </a:xfrm>
          <a:prstGeom prst="rect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A6868568-F595-3A49-81B7-E70EE5D7CE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540" y="340234"/>
            <a:ext cx="7824478" cy="853467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8C2EBE95-CD31-5247-9471-79AD41C155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7822992" cy="362273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3AB03A04-FA85-42CF-9FF6-36EBA9F6753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14540" y="1473639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F6044BCB-E4BE-4F27-9EEC-5E1B167E15A6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14540" y="3747051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978D86B-2F1D-4155-8EBB-0B5C72E8290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4539" y="2115232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Thir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DED4F96-1124-4A3E-9972-17B591BBD57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32303" y="4394546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 I 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Dritte Ebene I Thir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97B837A3-6F35-4DC0-B459-C97E280C61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3" name="Fußzeilenplatzhalter 3">
            <a:extLst>
              <a:ext uri="{FF2B5EF4-FFF2-40B4-BE49-F238E27FC236}">
                <a16:creationId xmlns:a16="http://schemas.microsoft.com/office/drawing/2014/main" id="{BEC7606E-95C9-4069-B619-8218429B5E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4" name="Datumsplatzhalter 8">
            <a:extLst>
              <a:ext uri="{FF2B5EF4-FFF2-40B4-BE49-F238E27FC236}">
                <a16:creationId xmlns:a16="http://schemas.microsoft.com/office/drawing/2014/main" id="{83D96F44-6146-4F95-A800-8EF5BCA7B0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9564EFE6-CE01-4D19-AB57-007BD3AF0A55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762756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  <p15:guide id="2" orient="horz" pos="1911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1205BD9-5B50-4C73-A3B8-2BDDDF581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5362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1205BD9-5B50-4C73-A3B8-2BDDDF581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>
            <a:extLst>
              <a:ext uri="{FF2B5EF4-FFF2-40B4-BE49-F238E27FC236}">
                <a16:creationId xmlns:a16="http://schemas.microsoft.com/office/drawing/2014/main" id="{E6193698-66BD-41AB-9D47-C3D4932D23BF}"/>
              </a:ext>
            </a:extLst>
          </p:cNvPr>
          <p:cNvSpPr/>
          <p:nvPr userDrawn="1"/>
        </p:nvSpPr>
        <p:spPr>
          <a:xfrm>
            <a:off x="8446501" y="6369049"/>
            <a:ext cx="1789699" cy="3059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22" name="Bildplatzhalter 31">
            <a:extLst>
              <a:ext uri="{FF2B5EF4-FFF2-40B4-BE49-F238E27FC236}">
                <a16:creationId xmlns:a16="http://schemas.microsoft.com/office/drawing/2014/main" id="{8565B0AF-2EF3-9643-8325-EFFCEBCDAA0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846300" y="3432175"/>
            <a:ext cx="3345700" cy="3430904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0" name="Bildplatzhalter 31">
            <a:extLst>
              <a:ext uri="{FF2B5EF4-FFF2-40B4-BE49-F238E27FC236}">
                <a16:creationId xmlns:a16="http://schemas.microsoft.com/office/drawing/2014/main" id="{F9C7625C-CB5B-A54F-BA62-2F69D7398AA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46300" y="0"/>
            <a:ext cx="3345700" cy="3432175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09FAE1E-C18D-CB46-94C2-5CC269BAE83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EC3C38D3-F2CD-F847-854A-F18BC84ED701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846300" y="3424319"/>
            <a:ext cx="3345700" cy="936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el 1">
            <a:extLst>
              <a:ext uri="{FF2B5EF4-FFF2-40B4-BE49-F238E27FC236}">
                <a16:creationId xmlns:a16="http://schemas.microsoft.com/office/drawing/2014/main" id="{85AD2043-5BC3-4CBD-9AD1-AAE34C5C0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5"/>
            <a:ext cx="7853362" cy="459866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6A6F16D8-28EB-46C9-B487-E4B81E4E7E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7853362" cy="31825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09652BC6-649B-407D-AAAC-6AD6B0C85748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14540" y="1378389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C0DA878B-BA4F-46E0-B9EB-334B81905DE1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14540" y="3594651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Mastertextformat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11C3680E-2986-4889-A89A-327082B407A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4539" y="2019982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0BCBEA8-0FA1-4BA6-9ADE-332849CF2BC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32303" y="4242146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 dirty="0"/>
              <a:t>Mastertextformat bearbeiten I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  <a:p>
            <a:pPr lvl="1"/>
            <a:r>
              <a:rPr lang="de-DE" dirty="0"/>
              <a:t> 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8EBD6288-B15B-4572-9A5F-05C670A36F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7" name="Fußzeilenplatzhalter 3">
            <a:extLst>
              <a:ext uri="{FF2B5EF4-FFF2-40B4-BE49-F238E27FC236}">
                <a16:creationId xmlns:a16="http://schemas.microsoft.com/office/drawing/2014/main" id="{17BDAA63-A3E9-486A-A4D9-574AD5E811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0" name="Datumsplatzhalter 8">
            <a:extLst>
              <a:ext uri="{FF2B5EF4-FFF2-40B4-BE49-F238E27FC236}">
                <a16:creationId xmlns:a16="http://schemas.microsoft.com/office/drawing/2014/main" id="{C0CE7711-FF4D-497C-9C41-C566C9E2F3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B5510EF7-4CDF-4B0B-917A-0A10F504F078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407793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Bild/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9BE4D5E-F223-472F-BA01-3258DA8E36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484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9BE4D5E-F223-472F-BA01-3258DA8E3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506B0D5E-872C-4EA2-9517-8AA1A6A217FA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651D45B-A5A1-E043-99A4-33380E7717F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FF51EE3-7AB7-4A96-B157-AE67A6C56C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7AA6E59F-80B7-44AD-B609-F98ED1E92B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1" name="Datumsplatzhalter 8">
            <a:extLst>
              <a:ext uri="{FF2B5EF4-FFF2-40B4-BE49-F238E27FC236}">
                <a16:creationId xmlns:a16="http://schemas.microsoft.com/office/drawing/2014/main" id="{26B7E0A8-0331-4C6B-93D9-01894FF354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D78FF311-4E2D-4497-A253-2D10E5474D7C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680796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  <p15:guide id="2" orient="horz" pos="1911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"/>
            <a:ext cx="12192000" cy="4537494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2000" b="0">
                <a:solidFill>
                  <a:schemeClr val="accent4"/>
                </a:solidFill>
                <a:latin typeface="+mn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Bild </a:t>
            </a:r>
            <a:r>
              <a:rPr lang="en-US" dirty="0" err="1"/>
              <a:t>hinzufügen</a:t>
            </a:r>
            <a:r>
              <a:rPr lang="en-US" dirty="0"/>
              <a:t> I Add image by clicking icon</a:t>
            </a: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96686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4817980"/>
            <a:ext cx="2340998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sz="1400" b="0" i="0" u="none" strike="noStrike" dirty="0">
                <a:solidFill>
                  <a:srgbClr val="333333"/>
                </a:solidFill>
                <a:effectLst/>
                <a:latin typeface="Segoe UI" panose="020B0502040204020203" pitchFamily="34" charset="0"/>
              </a:rPr>
              <a:t>Lean Lernreise | 27.04.2023</a:t>
            </a:r>
            <a:r>
              <a:rPr lang="de-DE" sz="1400" b="0" i="0" dirty="0">
                <a:solidFill>
                  <a:srgbClr val="333333"/>
                </a:solidFill>
                <a:effectLst/>
                <a:latin typeface="Segoe UI" panose="020B0502040204020203" pitchFamily="34" charset="0"/>
              </a:rPr>
              <a:t>​</a:t>
            </a:r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7" y="5064345"/>
            <a:ext cx="10571163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Masterplanung TRUMPF Hetting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6391757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Steffen Braun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7526E62-6588-6F47-9289-4B6B7A34B82A}"/>
              </a:ext>
            </a:extLst>
          </p:cNvPr>
          <p:cNvGrpSpPr/>
          <p:nvPr userDrawn="1"/>
        </p:nvGrpSpPr>
        <p:grpSpPr>
          <a:xfrm>
            <a:off x="11143231" y="5812561"/>
            <a:ext cx="793338" cy="793338"/>
            <a:chOff x="11143231" y="5812561"/>
            <a:chExt cx="793338" cy="793338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AFA692CF-E0B2-974C-B9E2-83D226AB67B0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latin typeface="+mn-lt"/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5EDBE238-57E6-D34D-A212-4193F22950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607805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F6FE709-603B-4CE3-A6FE-984E2796F5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852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F6FE709-603B-4CE3-A6FE-984E2796F5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-2" y="3429001"/>
            <a:ext cx="4057200" cy="34290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 hasCustomPrompt="1"/>
          </p:nvPr>
        </p:nvSpPr>
        <p:spPr>
          <a:xfrm>
            <a:off x="4067246" y="0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 hasCustomPrompt="1"/>
          </p:nvPr>
        </p:nvSpPr>
        <p:spPr>
          <a:xfrm>
            <a:off x="4067246" y="3429001"/>
            <a:ext cx="40572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 hasCustomPrompt="1"/>
          </p:nvPr>
        </p:nvSpPr>
        <p:spPr>
          <a:xfrm>
            <a:off x="8134803" y="-2"/>
            <a:ext cx="40608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 hasCustomPrompt="1"/>
          </p:nvPr>
        </p:nvSpPr>
        <p:spPr>
          <a:xfrm>
            <a:off x="8134803" y="3429001"/>
            <a:ext cx="40608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D3CFE7B-39B7-784F-93B1-D96A90A14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8" y="3429000"/>
            <a:ext cx="122061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E5C11C02-B1D3-FF4F-92AA-ABFA7ADE13F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34803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3D9E472F-8ECD-F246-8378-10E784CFF5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7246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6C37A555-E368-724C-9923-DD5CC5C5041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92655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F6FE709-603B-4CE3-A6FE-984E2796F5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F6FE709-603B-4CE3-A6FE-984E2796F5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"/>
            <a:ext cx="40572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-2" y="3429001"/>
            <a:ext cx="4057200" cy="34290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 hasCustomPrompt="1"/>
          </p:nvPr>
        </p:nvSpPr>
        <p:spPr>
          <a:xfrm>
            <a:off x="4067246" y="0"/>
            <a:ext cx="40572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 hasCustomPrompt="1"/>
          </p:nvPr>
        </p:nvSpPr>
        <p:spPr>
          <a:xfrm>
            <a:off x="4067246" y="3429001"/>
            <a:ext cx="40572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 hasCustomPrompt="1"/>
          </p:nvPr>
        </p:nvSpPr>
        <p:spPr>
          <a:xfrm>
            <a:off x="8134803" y="-2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 hasCustomPrompt="1"/>
          </p:nvPr>
        </p:nvSpPr>
        <p:spPr>
          <a:xfrm>
            <a:off x="8134803" y="3429001"/>
            <a:ext cx="4060800" cy="3430800"/>
          </a:xfrm>
          <a:solidFill>
            <a:schemeClr val="accent2"/>
          </a:solidFill>
        </p:spPr>
        <p:txBody>
          <a:bodyPr anchor="ctr"/>
          <a:lstStyle>
            <a:lvl1pPr marL="0" indent="0" algn="ctr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hinzufügen I Add </a:t>
            </a:r>
            <a:r>
              <a:rPr lang="de-DE" dirty="0" err="1"/>
              <a:t>image</a:t>
            </a:r>
            <a:endParaRPr lang="de-DE" dirty="0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D3CFE7B-39B7-784F-93B1-D96A90A14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8" y="3429000"/>
            <a:ext cx="122061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E5C11C02-B1D3-FF4F-92AA-ABFA7ADE13F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34803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3D9E472F-8ECD-F246-8378-10E784CFF5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7246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D241B32C-34A2-A044-B688-9EB0C4C617A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33EABACF-D5F6-B646-AF38-4CAEEFD956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32133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F42FFF10-46D2-8046-B800-9186430A3D6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65564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E8BC3BF2-8149-EE42-AA13-589D968360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2377A126-62FA-3047-BF67-D55D86E836C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32133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526DC38D-5CB4-FF4A-A842-246B91AD218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065564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7D952D44-ED50-794D-BA2A-1888F1C497B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26027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2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8AEEC6A-1A12-4575-9621-0258FD0661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5834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8AEEC6A-1A12-4575-9621-0258FD0661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E2D1987D-14E9-3542-B512-DBDE43D895D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338362" y="4106636"/>
            <a:ext cx="4296870" cy="1298844"/>
          </a:xfrm>
          <a:solidFill>
            <a:schemeClr val="tx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E3ACA5D7-A7AE-F84E-91A1-7CA07F24442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338362" y="1624693"/>
            <a:ext cx="4296870" cy="247797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E2B1A042-66BA-494C-B41C-4A04ABEE7555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6556766" y="4106636"/>
            <a:ext cx="4296870" cy="1298844"/>
          </a:xfrm>
          <a:solidFill>
            <a:schemeClr val="tx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5" name="Bildplatzhalter 5">
            <a:extLst>
              <a:ext uri="{FF2B5EF4-FFF2-40B4-BE49-F238E27FC236}">
                <a16:creationId xmlns:a16="http://schemas.microsoft.com/office/drawing/2014/main" id="{C54ED8A5-7687-D045-93DD-E5A162FBBB5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556766" y="1624693"/>
            <a:ext cx="4296870" cy="247797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507E39A9-8B88-1745-921E-23DF5485CC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87221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B2BA28F4-4398-0D4D-970A-0C25A0C837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20783FE1-8488-4EE5-AEAB-B06C561DD0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9" name="Fußzeilenplatzhalter 3">
            <a:extLst>
              <a:ext uri="{FF2B5EF4-FFF2-40B4-BE49-F238E27FC236}">
                <a16:creationId xmlns:a16="http://schemas.microsoft.com/office/drawing/2014/main" id="{933653B3-65BD-4DD9-AF10-C6D17D12F8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0" name="Datumsplatzhalter 8">
            <a:extLst>
              <a:ext uri="{FF2B5EF4-FFF2-40B4-BE49-F238E27FC236}">
                <a16:creationId xmlns:a16="http://schemas.microsoft.com/office/drawing/2014/main" id="{BDB00D74-2A43-4F79-930A-66504728E1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BF36DFCC-6393-49A0-9AB0-C00EE787365E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1746178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3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733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rafik 21">
            <a:extLst>
              <a:ext uri="{FF2B5EF4-FFF2-40B4-BE49-F238E27FC236}">
                <a16:creationId xmlns:a16="http://schemas.microsoft.com/office/drawing/2014/main" id="{7FBD7425-3D57-704A-8AD3-0D8C20BDB40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FE3D90D-E36A-DF4D-B325-30BCB63A839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628102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9DD658D9-2A23-C34C-95EC-E99E330FF93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156493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BEDDAD1E-B130-D34E-948B-3916F99DA93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139977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77670EE1-D200-8144-A1FC-1B1BAFD9A1B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9977" y="2171808"/>
            <a:ext cx="2913131" cy="1652547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18F34889-3830-004A-B62C-141AADFCE30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628102" y="2161178"/>
            <a:ext cx="2913130" cy="1663178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5F105300-099C-0B47-91CC-29E9AFF39FD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156493" y="2161178"/>
            <a:ext cx="2913134" cy="1663177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FB7CD102-46E1-614C-9351-4A6BFE349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1193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494DA24A-340E-6B4B-A043-B22194E91F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A27814AD-6500-40EB-B3DE-8CA2CE42B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825D8F5F-EEDA-4F89-8CE6-BF5848A8BC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8" name="Datumsplatzhalter 8">
            <a:extLst>
              <a:ext uri="{FF2B5EF4-FFF2-40B4-BE49-F238E27FC236}">
                <a16:creationId xmlns:a16="http://schemas.microsoft.com/office/drawing/2014/main" id="{D6AD6385-5541-41ED-B5E3-EA2E6D84A5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9E581F06-29AA-4AEF-9D69-F8ACB22759C2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2709342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6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FD375BA-197B-450B-A78B-15AF039CE7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452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FD375BA-197B-450B-A78B-15AF039CE7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rafik 21">
            <a:extLst>
              <a:ext uri="{FF2B5EF4-FFF2-40B4-BE49-F238E27FC236}">
                <a16:creationId xmlns:a16="http://schemas.microsoft.com/office/drawing/2014/main" id="{7FBD7425-3D57-704A-8AD3-0D8C20BDB40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B82F67BF-BE40-D64B-ACE5-494B7E63E13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449591" y="1638415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E5B6EB5C-F640-184A-9E24-4046A9902A9A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449591" y="3092570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F17F3E8-05AA-C446-8B67-1E5A49390BC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8220202" y="1638415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922A922F-2C05-6746-97A3-05C812F68AC6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220202" y="3092570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2" name="Bildplatzhalter 5">
            <a:extLst>
              <a:ext uri="{FF2B5EF4-FFF2-40B4-BE49-F238E27FC236}">
                <a16:creationId xmlns:a16="http://schemas.microsoft.com/office/drawing/2014/main" id="{5F83A5CF-61BE-C94E-AAE3-98EFF67F54A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200690" y="1638415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2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C3EF4B84-5EC6-5849-A958-4920C35667E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0690" y="3092570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2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6" name="Bildplatzhalter 5">
            <a:extLst>
              <a:ext uri="{FF2B5EF4-FFF2-40B4-BE49-F238E27FC236}">
                <a16:creationId xmlns:a16="http://schemas.microsoft.com/office/drawing/2014/main" id="{0B8E9C79-850C-6348-9C50-B033D2C1FCB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417379" y="3092570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2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41" name="Bildplatzhalter 5">
            <a:extLst>
              <a:ext uri="{FF2B5EF4-FFF2-40B4-BE49-F238E27FC236}">
                <a16:creationId xmlns:a16="http://schemas.microsoft.com/office/drawing/2014/main" id="{2634FB1A-C6B9-DB44-AAAE-7A946E340F4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17379" y="1638415"/>
            <a:ext cx="2032212" cy="1281600"/>
          </a:xfrm>
          <a:solidFill>
            <a:schemeClr val="accent2"/>
          </a:solidFill>
        </p:spPr>
        <p:txBody>
          <a:bodyPr anchor="ctr"/>
          <a:lstStyle>
            <a:lvl1pPr algn="ctr">
              <a:defRPr sz="12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7F7EFA98-450D-C244-99FB-D37E9696DBF5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3449591" y="4546727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8AA877DA-B07F-D149-8120-35B0BC7FC088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8220202" y="4546727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I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44" name="Bildplatzhalter 5">
            <a:extLst>
              <a:ext uri="{FF2B5EF4-FFF2-40B4-BE49-F238E27FC236}">
                <a16:creationId xmlns:a16="http://schemas.microsoft.com/office/drawing/2014/main" id="{C8E47CB9-0991-2C4E-B39B-894C789BCFE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0690" y="4546727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2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45" name="Bildplatzhalter 5">
            <a:extLst>
              <a:ext uri="{FF2B5EF4-FFF2-40B4-BE49-F238E27FC236}">
                <a16:creationId xmlns:a16="http://schemas.microsoft.com/office/drawing/2014/main" id="{C682EDD5-0E6C-8042-AEF0-BC172E22874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1417379" y="4546727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2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D7A2374B-7FB7-2142-A056-F13A4C51F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0201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995C2DE4-BA82-624C-B54A-6E673D295F0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B96E0D9B-C5D5-41D4-9A09-9984649B62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98A57A3B-A8BB-46BE-952C-2FD7576C4D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3" name="Datumsplatzhalter 8">
            <a:extLst>
              <a:ext uri="{FF2B5EF4-FFF2-40B4-BE49-F238E27FC236}">
                <a16:creationId xmlns:a16="http://schemas.microsoft.com/office/drawing/2014/main" id="{398E2729-16E7-462C-A3B8-1BB6CA79AA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9497A8DE-860A-4573-88DC-8D5F4D32F55B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2291357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/ Bild mit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7130592-A4C7-4D99-BE68-EA60CD1946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2525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7130592-A4C7-4D99-BE68-EA60CD1946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78164E5D-7AF6-3348-ACB4-4F8B4EAA5286}"/>
              </a:ext>
            </a:extLst>
          </p:cNvPr>
          <p:cNvSpPr/>
          <p:nvPr userDrawn="1"/>
        </p:nvSpPr>
        <p:spPr>
          <a:xfrm>
            <a:off x="10020300" y="1196975"/>
            <a:ext cx="2171700" cy="566102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+mj-lt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09FAE1E-C18D-CB46-94C2-5CC269BAE83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F5C21B50-9205-9E45-A51B-C7638C012CF6}"/>
              </a:ext>
            </a:extLst>
          </p:cNvPr>
          <p:cNvSpPr txBox="1"/>
          <p:nvPr userDrawn="1"/>
        </p:nvSpPr>
        <p:spPr>
          <a:xfrm>
            <a:off x="10144488" y="1482436"/>
            <a:ext cx="187627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dirty="0">
                <a:latin typeface="+mj-lt"/>
                <a:cs typeface="Segoe UI" panose="020B0502040204020203" pitchFamily="34" charset="0"/>
              </a:rPr>
              <a:t>Master </a:t>
            </a:r>
            <a:r>
              <a:rPr lang="de-DE" sz="1200" dirty="0" err="1">
                <a:latin typeface="+mj-lt"/>
                <a:cs typeface="Segoe UI" panose="020B0502040204020203" pitchFamily="34" charset="0"/>
              </a:rPr>
              <a:t>text</a:t>
            </a:r>
            <a:r>
              <a:rPr lang="de-DE" sz="1200" dirty="0">
                <a:latin typeface="+mj-lt"/>
                <a:cs typeface="Segoe UI" panose="020B0502040204020203" pitchFamily="34" charset="0"/>
              </a:rPr>
              <a:t> </a:t>
            </a:r>
            <a:r>
              <a:rPr lang="de-DE" sz="1200" dirty="0" err="1">
                <a:latin typeface="+mj-lt"/>
                <a:cs typeface="Segoe UI" panose="020B0502040204020203" pitchFamily="34" charset="0"/>
              </a:rPr>
              <a:t>format</a:t>
            </a:r>
            <a:endParaRPr lang="de-DE" sz="1200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397EF706-7C9F-8F47-99F9-1F6571D0AE74}"/>
              </a:ext>
            </a:extLst>
          </p:cNvPr>
          <p:cNvSpPr txBox="1">
            <a:spLocks/>
          </p:cNvSpPr>
          <p:nvPr userDrawn="1"/>
        </p:nvSpPr>
        <p:spPr>
          <a:xfrm>
            <a:off x="0" y="1196974"/>
            <a:ext cx="10020300" cy="5661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F2400B66-29C2-FD4B-95E4-1236F408EEF3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0" y="1196975"/>
            <a:ext cx="10020300" cy="5661025"/>
          </a:xfrm>
          <a:solidFill>
            <a:schemeClr val="accent2"/>
          </a:solidFill>
        </p:spPr>
        <p:txBody>
          <a:bodyPr anchor="ctr"/>
          <a:lstStyle>
            <a:lvl1pPr algn="ctr">
              <a:buFontTx/>
              <a:buNone/>
              <a:defRPr sz="2000" b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Object</a:t>
            </a:r>
            <a:endParaRPr lang="de-DE" dirty="0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DA26AA71-8B6A-C840-BEF6-D2B61C9041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355091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AC6B211D-DE63-450A-B229-340AEB5E554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73617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 u="none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7007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12">
          <p15:clr>
            <a:srgbClr val="FBAE40"/>
          </p15:clr>
        </p15:guide>
        <p15:guide id="2" orient="horz" pos="754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943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D607F26A-0D43-4441-932E-EA35304503E9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2149214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0294D4CF-D366-5D43-AACC-3E4C1423EC3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017206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72B9EA2-21CB-4DDA-A24D-1EA0D470495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7935482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0" name="Bildplatzhalter 5">
            <a:extLst>
              <a:ext uri="{FF2B5EF4-FFF2-40B4-BE49-F238E27FC236}">
                <a16:creationId xmlns:a16="http://schemas.microsoft.com/office/drawing/2014/main" id="{96513A13-432C-4044-9AD4-9E9F449A696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149214" y="1549734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1400" b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48AE97E9-DA3B-4912-9CB9-8A97F0412C7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017205" y="1549734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26" name="Bildplatzhalter 5">
            <a:extLst>
              <a:ext uri="{FF2B5EF4-FFF2-40B4-BE49-F238E27FC236}">
                <a16:creationId xmlns:a16="http://schemas.microsoft.com/office/drawing/2014/main" id="{AC84D9D4-CD28-458A-A689-780288422DF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935481" y="1549734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B851EED9-359C-3848-8B94-78B3619272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72895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7F3040F8-124D-5044-9ED1-C021C7D659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 u="none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9931CBE2-2FE1-491E-AC84-D55CA5922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B4715C78-1E85-4FBB-AC77-34FAE2F9CA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2" name="Datumsplatzhalter 8">
            <a:extLst>
              <a:ext uri="{FF2B5EF4-FFF2-40B4-BE49-F238E27FC236}">
                <a16:creationId xmlns:a16="http://schemas.microsoft.com/office/drawing/2014/main" id="{5192275F-0C0C-43FC-AACC-33731E9ADD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608250F3-D8F5-4188-913C-39D2CB97475B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7437464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6808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9BC1A026-3D72-C64B-8BD9-EAAABF221770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1349385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974EFC2-132E-924F-8F1D-B919A8B0DFA8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80147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F6FEEAEE-19B8-254C-9050-C96E16BB6D85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6257703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3" name="Bildplatzhalter 5">
            <a:extLst>
              <a:ext uri="{FF2B5EF4-FFF2-40B4-BE49-F238E27FC236}">
                <a16:creationId xmlns:a16="http://schemas.microsoft.com/office/drawing/2014/main" id="{4A81357F-97F7-314E-B11F-877C34415C3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349385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6DB35557-ED53-2742-888E-F64087CFACC3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801473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5" name="Bildplatzhalter 5">
            <a:extLst>
              <a:ext uri="{FF2B5EF4-FFF2-40B4-BE49-F238E27FC236}">
                <a16:creationId xmlns:a16="http://schemas.microsoft.com/office/drawing/2014/main" id="{01D51DDC-0EDF-2644-9624-B300906A64BE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57702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38FC3FEA-D556-224A-AFDB-8ECF3C97AE5E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870659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7" name="Bildplatzhalter 5">
            <a:extLst>
              <a:ext uri="{FF2B5EF4-FFF2-40B4-BE49-F238E27FC236}">
                <a16:creationId xmlns:a16="http://schemas.microsoft.com/office/drawing/2014/main" id="{9CA2F34E-5903-5842-A63D-5FB5477B1B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8706593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de-DE" sz="1400" b="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CE7FD68B-38EB-6144-8FA7-AC383AD6B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868362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AD5E64C3-FCAE-E749-A5BE-838738FA72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BC1BD849-4DF0-4A08-87D4-CAD6F478D7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F93A1C56-5A4E-426A-ACCC-9D321A3D6D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2" name="Datumsplatzhalter 8">
            <a:extLst>
              <a:ext uri="{FF2B5EF4-FFF2-40B4-BE49-F238E27FC236}">
                <a16:creationId xmlns:a16="http://schemas.microsoft.com/office/drawing/2014/main" id="{3DED4E95-6200-414D-9A6B-9D5105D90E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4A258DC9-9A45-485B-A019-93A84BE353C3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8295956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2369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F8B84CD2-499A-F941-B3C5-E0312EBB4C0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515938" y="3162299"/>
            <a:ext cx="211680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7897EC78-3C52-3C42-B05A-B6F95D927B4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5938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en-US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20CC3DF5-4E61-CC42-8746-62C798A90279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773001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BF6422A4-323F-7A42-92A0-1E2B3C9D9954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773001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en-US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endParaRPr lang="de-DE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B4D06F90-E41E-0B49-8666-6B158B15FA2B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503006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7" name="Bildplatzhalter 5">
            <a:extLst>
              <a:ext uri="{FF2B5EF4-FFF2-40B4-BE49-F238E27FC236}">
                <a16:creationId xmlns:a16="http://schemas.microsoft.com/office/drawing/2014/main" id="{7937273B-3079-D743-89EA-5F9E1A2D17A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030064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en-US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endParaRPr lang="de-DE" dirty="0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4E61058-EAFC-404D-962E-9D3EA73D60E3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7287127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29" name="Bildplatzhalter 5">
            <a:extLst>
              <a:ext uri="{FF2B5EF4-FFF2-40B4-BE49-F238E27FC236}">
                <a16:creationId xmlns:a16="http://schemas.microsoft.com/office/drawing/2014/main" id="{B628D14F-2DBF-3C4E-9CCE-DB3DF2B2DA9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7287127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en-US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endParaRPr lang="de-DE" dirty="0"/>
          </a:p>
        </p:txBody>
      </p:sp>
      <p:sp>
        <p:nvSpPr>
          <p:cNvPr id="31" name="Bildplatzhalter 5">
            <a:extLst>
              <a:ext uri="{FF2B5EF4-FFF2-40B4-BE49-F238E27FC236}">
                <a16:creationId xmlns:a16="http://schemas.microsoft.com/office/drawing/2014/main" id="{8F005012-61F3-FD46-A7F4-3F20C54F276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544189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lang="en-US" sz="1400" b="0" kern="1200" dirty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endParaRPr lang="de-DE" dirty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DB141F0E-C085-8E41-8B27-A60B1A4640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1193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7BB1B1C8-E8A6-4949-8A76-D227121094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571D6973-FC67-4F52-9D8B-A47CEB26E7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4" name="Fußzeilenplatzhalter 3">
            <a:extLst>
              <a:ext uri="{FF2B5EF4-FFF2-40B4-BE49-F238E27FC236}">
                <a16:creationId xmlns:a16="http://schemas.microsoft.com/office/drawing/2014/main" id="{3D514009-6C20-4D51-B50D-1B90D21227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5" name="Datumsplatzhalter 8">
            <a:extLst>
              <a:ext uri="{FF2B5EF4-FFF2-40B4-BE49-F238E27FC236}">
                <a16:creationId xmlns:a16="http://schemas.microsoft.com/office/drawing/2014/main" id="{642FDABF-E85F-4B0F-BCA6-43353C8DD3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8DDCAFC4-F697-4FE1-8335-245661A4F99F}" type="datetime1">
              <a:rPr lang="de-DE"/>
              <a:pPr/>
              <a:t>21.04.2023</a:t>
            </a:fld>
            <a:endParaRPr lang="de-DE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0DFC8822-77D7-4922-9FBA-0D56B6286800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9543399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9167850"/>
      </p:ext>
    </p:extLst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CD3FE672-C36D-4759-8ADD-079756E82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4752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CD3FE672-C36D-4759-8ADD-079756E82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val 18">
            <a:extLst>
              <a:ext uri="{FF2B5EF4-FFF2-40B4-BE49-F238E27FC236}">
                <a16:creationId xmlns:a16="http://schemas.microsoft.com/office/drawing/2014/main" id="{D456E720-0D41-465C-B9F3-3BEA8BC60A69}"/>
              </a:ext>
            </a:extLst>
          </p:cNvPr>
          <p:cNvSpPr>
            <a:spLocks noChangeAspect="1"/>
          </p:cNvSpPr>
          <p:nvPr userDrawn="1"/>
        </p:nvSpPr>
        <p:spPr>
          <a:xfrm>
            <a:off x="493994" y="1673301"/>
            <a:ext cx="654144" cy="654144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0">
                <a:solidFill>
                  <a:schemeClr val="tx2"/>
                </a:solidFill>
                <a:latin typeface="+mj-lt"/>
              </a:rPr>
              <a:t>1</a:t>
            </a:r>
          </a:p>
        </p:txBody>
      </p:sp>
      <p:sp>
        <p:nvSpPr>
          <p:cNvPr id="12" name="Oval 19">
            <a:extLst>
              <a:ext uri="{FF2B5EF4-FFF2-40B4-BE49-F238E27FC236}">
                <a16:creationId xmlns:a16="http://schemas.microsoft.com/office/drawing/2014/main" id="{02F84A11-C680-4559-92C9-C4DADC7443B6}"/>
              </a:ext>
            </a:extLst>
          </p:cNvPr>
          <p:cNvSpPr>
            <a:spLocks noChangeAspect="1"/>
          </p:cNvSpPr>
          <p:nvPr userDrawn="1"/>
        </p:nvSpPr>
        <p:spPr>
          <a:xfrm>
            <a:off x="493994" y="2651104"/>
            <a:ext cx="654144" cy="654144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0">
                <a:solidFill>
                  <a:schemeClr val="tx2"/>
                </a:solidFill>
                <a:latin typeface="+mj-lt"/>
              </a:rPr>
              <a:t>2</a:t>
            </a: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D1BE7CC5-C842-427F-A3DF-0DD439A72A72}"/>
              </a:ext>
            </a:extLst>
          </p:cNvPr>
          <p:cNvSpPr>
            <a:spLocks noChangeAspect="1"/>
          </p:cNvSpPr>
          <p:nvPr userDrawn="1"/>
        </p:nvSpPr>
        <p:spPr>
          <a:xfrm>
            <a:off x="493994" y="3628907"/>
            <a:ext cx="654144" cy="654144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0">
                <a:solidFill>
                  <a:schemeClr val="tx2"/>
                </a:solidFill>
                <a:latin typeface="+mj-lt"/>
              </a:rPr>
              <a:t>3</a:t>
            </a:r>
          </a:p>
        </p:txBody>
      </p:sp>
      <p:sp>
        <p:nvSpPr>
          <p:cNvPr id="14" name="Oval 21">
            <a:extLst>
              <a:ext uri="{FF2B5EF4-FFF2-40B4-BE49-F238E27FC236}">
                <a16:creationId xmlns:a16="http://schemas.microsoft.com/office/drawing/2014/main" id="{516832BC-5EEF-4FA6-B62E-80067A4D3B34}"/>
              </a:ext>
            </a:extLst>
          </p:cNvPr>
          <p:cNvSpPr>
            <a:spLocks noChangeAspect="1"/>
          </p:cNvSpPr>
          <p:nvPr userDrawn="1"/>
        </p:nvSpPr>
        <p:spPr>
          <a:xfrm>
            <a:off x="493994" y="4606709"/>
            <a:ext cx="654144" cy="654144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b="0">
                <a:solidFill>
                  <a:schemeClr val="tx2"/>
                </a:solidFill>
                <a:latin typeface="+mj-lt"/>
              </a:rPr>
              <a:t>4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250CB09-D9AB-4DB2-9A31-BC55938C009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332549" y="1869851"/>
            <a:ext cx="10148887" cy="603927"/>
          </a:xfr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73C6D208-16FF-F847-9C15-66E39DB973CF}"/>
              </a:ext>
            </a:extLst>
          </p:cNvPr>
          <p:cNvCxnSpPr>
            <a:cxnSpLocks/>
          </p:cNvCxnSpPr>
          <p:nvPr userDrawn="1"/>
        </p:nvCxnSpPr>
        <p:spPr>
          <a:xfrm>
            <a:off x="515938" y="2477572"/>
            <a:ext cx="1116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0A94B920-4C7D-F04F-8ED4-B99A92E9B63D}"/>
              </a:ext>
            </a:extLst>
          </p:cNvPr>
          <p:cNvCxnSpPr>
            <a:cxnSpLocks/>
          </p:cNvCxnSpPr>
          <p:nvPr userDrawn="1"/>
        </p:nvCxnSpPr>
        <p:spPr>
          <a:xfrm>
            <a:off x="515938" y="3468172"/>
            <a:ext cx="1116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225FC18E-B6D3-2A4A-B3BD-9ED73A401E01}"/>
              </a:ext>
            </a:extLst>
          </p:cNvPr>
          <p:cNvCxnSpPr>
            <a:cxnSpLocks/>
          </p:cNvCxnSpPr>
          <p:nvPr userDrawn="1"/>
        </p:nvCxnSpPr>
        <p:spPr>
          <a:xfrm>
            <a:off x="515938" y="4458772"/>
            <a:ext cx="1116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platzhalter 18">
            <a:extLst>
              <a:ext uri="{FF2B5EF4-FFF2-40B4-BE49-F238E27FC236}">
                <a16:creationId xmlns:a16="http://schemas.microsoft.com/office/drawing/2014/main" id="{47A8053B-CEA0-2241-95F2-96A0D338FD1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32549" y="2850926"/>
            <a:ext cx="10148887" cy="627060"/>
          </a:xfr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18">
            <a:extLst>
              <a:ext uri="{FF2B5EF4-FFF2-40B4-BE49-F238E27FC236}">
                <a16:creationId xmlns:a16="http://schemas.microsoft.com/office/drawing/2014/main" id="{490B10DA-B978-BB43-BFBA-3F0D30174C1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32549" y="3832002"/>
            <a:ext cx="10148887" cy="633862"/>
          </a:xfr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18">
            <a:extLst>
              <a:ext uri="{FF2B5EF4-FFF2-40B4-BE49-F238E27FC236}">
                <a16:creationId xmlns:a16="http://schemas.microsoft.com/office/drawing/2014/main" id="{5FA39501-E190-1440-B4D9-DA8B5D17C5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32549" y="4813077"/>
            <a:ext cx="10148887" cy="714144"/>
          </a:xfr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3D9B738F-77E8-E840-A281-42E14F72E2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81379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9A776F20-1502-9C4D-A2A8-38718A92D8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31" name="Foliennummernplatzhalter 5">
            <a:extLst>
              <a:ext uri="{FF2B5EF4-FFF2-40B4-BE49-F238E27FC236}">
                <a16:creationId xmlns:a16="http://schemas.microsoft.com/office/drawing/2014/main" id="{AC73BABB-4B95-4888-B24A-C5174F67C6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2" name="Fußzeilenplatzhalter 3">
            <a:extLst>
              <a:ext uri="{FF2B5EF4-FFF2-40B4-BE49-F238E27FC236}">
                <a16:creationId xmlns:a16="http://schemas.microsoft.com/office/drawing/2014/main" id="{0A234621-2F78-4F92-9D2A-8657AB0F37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3" name="Datumsplatzhalter 8">
            <a:extLst>
              <a:ext uri="{FF2B5EF4-FFF2-40B4-BE49-F238E27FC236}">
                <a16:creationId xmlns:a16="http://schemas.microsoft.com/office/drawing/2014/main" id="{46086EC7-AF14-48F4-8E03-CA6129710C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62E72EE6-0233-4C1F-8A74-97950B3B96CF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0677397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en-US" sz="1400" b="0">
                <a:solidFill>
                  <a:schemeClr val="accent4"/>
                </a:solidFill>
                <a:latin typeface="+mn-lt"/>
              </a:defRPr>
            </a:lvl1pPr>
          </a:lstStyle>
          <a:p>
            <a:pPr lvl="0" algn="ctr"/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pPr lvl="0" algn="ctr"/>
            <a:endParaRPr lang="en-US" dirty="0"/>
          </a:p>
          <a:p>
            <a:pPr lvl="0" algn="ctr"/>
            <a:endParaRPr lang="en-US" dirty="0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73408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702173"/>
            <a:ext cx="1935162" cy="215444"/>
          </a:xfrm>
          <a:noFill/>
        </p:spPr>
        <p:txBody>
          <a:bodyPr wrap="squar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 I </a:t>
            </a:r>
            <a:r>
              <a:rPr lang="de-DE" dirty="0" err="1"/>
              <a:t>Overline</a:t>
            </a:r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4068000"/>
            <a:ext cx="11198984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bg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674962" y="5390460"/>
            <a:ext cx="2577897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37680" y="5582714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endParaRPr lang="de-DE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7526E62-6588-6F47-9289-4B6B7A34B82A}"/>
              </a:ext>
            </a:extLst>
          </p:cNvPr>
          <p:cNvGrpSpPr/>
          <p:nvPr userDrawn="1"/>
        </p:nvGrpSpPr>
        <p:grpSpPr>
          <a:xfrm>
            <a:off x="11143231" y="5812561"/>
            <a:ext cx="793338" cy="793338"/>
            <a:chOff x="11143231" y="5812561"/>
            <a:chExt cx="793338" cy="793338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AFA692CF-E0B2-974C-B9E2-83D226AB67B0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latin typeface="+mn-lt"/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5EDBE238-57E6-D34D-A212-4193F22950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63072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_TRUMP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34011D-FC5D-41C9-A6F5-E3DD18E9B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RUMPF Website">
            <a:extLst>
              <a:ext uri="{FF2B5EF4-FFF2-40B4-BE49-F238E27FC236}">
                <a16:creationId xmlns:a16="http://schemas.microsoft.com/office/drawing/2014/main" id="{59038479-5C93-41EA-B0E7-C419ED89BB0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585930" y="6356349"/>
            <a:ext cx="655495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CC2CFEA-7510-4234-9E69-0D47C2446AB0}" type="datetime1">
              <a:rPr lang="de-DE"/>
              <a:pPr/>
              <a:t>21.04.2023</a:t>
            </a:fld>
            <a:endParaRPr lang="de-DE" dirty="0"/>
          </a:p>
        </p:txBody>
      </p:sp>
      <p:pic>
        <p:nvPicPr>
          <p:cNvPr id="6" name="Hauptpforte">
            <a:extLst>
              <a:ext uri="{FF2B5EF4-FFF2-40B4-BE49-F238E27FC236}">
                <a16:creationId xmlns:a16="http://schemas.microsoft.com/office/drawing/2014/main" id="{EA5A5E46-6E32-4189-A8C7-6B12C67735E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63"/>
          <a:stretch/>
        </p:blipFill>
        <p:spPr>
          <a:xfrm>
            <a:off x="-1" y="858"/>
            <a:ext cx="12192001" cy="6857142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9FB0AAD3-B649-2A4A-9958-5AE5CA57149D}"/>
              </a:ext>
            </a:extLst>
          </p:cNvPr>
          <p:cNvSpPr/>
          <p:nvPr userDrawn="1"/>
        </p:nvSpPr>
        <p:spPr>
          <a:xfrm>
            <a:off x="1" y="3124200"/>
            <a:ext cx="4669025" cy="315519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8" name="Titel 4">
            <a:extLst>
              <a:ext uri="{FF2B5EF4-FFF2-40B4-BE49-F238E27FC236}">
                <a16:creationId xmlns:a16="http://schemas.microsoft.com/office/drawing/2014/main" id="{68A18138-9391-AF45-8382-94D7791BA496}"/>
              </a:ext>
            </a:extLst>
          </p:cNvPr>
          <p:cNvSpPr txBox="1">
            <a:spLocks/>
          </p:cNvSpPr>
          <p:nvPr userDrawn="1"/>
        </p:nvSpPr>
        <p:spPr>
          <a:xfrm>
            <a:off x="515938" y="4688163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 dirty="0">
                <a:solidFill>
                  <a:srgbClr val="5F5F5F"/>
                </a:solidFill>
                <a:latin typeface="+mj-lt"/>
              </a:rPr>
              <a:t>Ansprechpartner</a:t>
            </a:r>
          </a:p>
        </p:txBody>
      </p:sp>
      <p:sp>
        <p:nvSpPr>
          <p:cNvPr id="19" name="Titel 4">
            <a:extLst>
              <a:ext uri="{FF2B5EF4-FFF2-40B4-BE49-F238E27FC236}">
                <a16:creationId xmlns:a16="http://schemas.microsoft.com/office/drawing/2014/main" id="{3DDDD31B-E576-7142-8AF2-55D312AE22B7}"/>
              </a:ext>
            </a:extLst>
          </p:cNvPr>
          <p:cNvSpPr txBox="1">
            <a:spLocks/>
          </p:cNvSpPr>
          <p:nvPr userDrawn="1"/>
        </p:nvSpPr>
        <p:spPr>
          <a:xfrm>
            <a:off x="515938" y="4112832"/>
            <a:ext cx="2638292" cy="4905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200" b="0" dirty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Vielen Dank.</a:t>
            </a:r>
          </a:p>
        </p:txBody>
      </p:sp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4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 dirty="0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9BA4CA5-E0A3-8A42-9EA4-6A92C15B41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936788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5F6F4EDA-1900-9641-B7E9-6EE1212445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233460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bteilung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5AFD2953-E35C-8147-8A6E-70D8068FEB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530132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efonnummer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26B8DF3F-AF05-AB4A-8DD1-37D9E3451E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826804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E-Mailadresse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99951D1C-41C1-4A14-B909-58F37F9420E8}"/>
              </a:ext>
            </a:extLst>
          </p:cNvPr>
          <p:cNvGrpSpPr/>
          <p:nvPr userDrawn="1"/>
        </p:nvGrpSpPr>
        <p:grpSpPr>
          <a:xfrm>
            <a:off x="496888" y="3304977"/>
            <a:ext cx="625992" cy="600256"/>
            <a:chOff x="11143231" y="5812561"/>
            <a:chExt cx="793338" cy="793338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B5961B7A-C513-464D-B932-3CA2450ACF6B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latin typeface="+mn-lt"/>
              </a:endParaRPr>
            </a:p>
          </p:txBody>
        </p: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F01AA708-F368-4EB0-ADF2-8C63243BF6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99048526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Slide_TRUMP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34011D-FC5D-41C9-A6F5-E3DD18E9B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RUMPF Website">
            <a:extLst>
              <a:ext uri="{FF2B5EF4-FFF2-40B4-BE49-F238E27FC236}">
                <a16:creationId xmlns:a16="http://schemas.microsoft.com/office/drawing/2014/main" id="{59038479-5C93-41EA-B0E7-C419ED89BB0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585930" y="6356349"/>
            <a:ext cx="655495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355" rtl="0" eaLnBrk="1" latinLnBrk="0" hangingPunct="1"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2EE00C-A7F5-4545-8188-9DD1CBFD8DC6}" type="datetime1">
              <a:rPr lang="de-DE"/>
              <a:pPr/>
              <a:t>21.04.2023</a:t>
            </a:fld>
            <a:endParaRPr lang="de-DE" dirty="0"/>
          </a:p>
        </p:txBody>
      </p:sp>
      <p:pic>
        <p:nvPicPr>
          <p:cNvPr id="6" name="Hauptpforte">
            <a:extLst>
              <a:ext uri="{FF2B5EF4-FFF2-40B4-BE49-F238E27FC236}">
                <a16:creationId xmlns:a16="http://schemas.microsoft.com/office/drawing/2014/main" id="{EA5A5E46-6E32-4189-A8C7-6B12C67735E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63"/>
          <a:stretch/>
        </p:blipFill>
        <p:spPr>
          <a:xfrm>
            <a:off x="-1" y="858"/>
            <a:ext cx="12192001" cy="6857142"/>
          </a:xfrm>
          <a:prstGeom prst="rect">
            <a:avLst/>
          </a:prstGeom>
        </p:spPr>
      </p:pic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4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85DEA54-B57E-4A3F-8626-3917E19AF3A1}"/>
              </a:ext>
            </a:extLst>
          </p:cNvPr>
          <p:cNvSpPr/>
          <p:nvPr userDrawn="1"/>
        </p:nvSpPr>
        <p:spPr>
          <a:xfrm>
            <a:off x="1" y="3124200"/>
            <a:ext cx="4669025" cy="315519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1" name="Titel 4">
            <a:extLst>
              <a:ext uri="{FF2B5EF4-FFF2-40B4-BE49-F238E27FC236}">
                <a16:creationId xmlns:a16="http://schemas.microsoft.com/office/drawing/2014/main" id="{F0348EAF-679D-4728-9335-EC9DD8940AC5}"/>
              </a:ext>
            </a:extLst>
          </p:cNvPr>
          <p:cNvSpPr txBox="1">
            <a:spLocks/>
          </p:cNvSpPr>
          <p:nvPr userDrawn="1"/>
        </p:nvSpPr>
        <p:spPr>
          <a:xfrm>
            <a:off x="515938" y="4688163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 dirty="0">
                <a:solidFill>
                  <a:srgbClr val="5F5F5F"/>
                </a:solidFill>
                <a:latin typeface="+mj-lt"/>
              </a:rPr>
              <a:t>Contact Person</a:t>
            </a:r>
          </a:p>
        </p:txBody>
      </p:sp>
      <p:sp>
        <p:nvSpPr>
          <p:cNvPr id="22" name="Titel 4">
            <a:extLst>
              <a:ext uri="{FF2B5EF4-FFF2-40B4-BE49-F238E27FC236}">
                <a16:creationId xmlns:a16="http://schemas.microsoft.com/office/drawing/2014/main" id="{812C48B3-F225-4797-8C40-3B338DA339C7}"/>
              </a:ext>
            </a:extLst>
          </p:cNvPr>
          <p:cNvSpPr txBox="1">
            <a:spLocks/>
          </p:cNvSpPr>
          <p:nvPr userDrawn="1"/>
        </p:nvSpPr>
        <p:spPr>
          <a:xfrm>
            <a:off x="515938" y="4112832"/>
            <a:ext cx="2638292" cy="4905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200" b="0" dirty="0" err="1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Thank</a:t>
            </a:r>
            <a:r>
              <a:rPr lang="de-DE" sz="3200" b="0" dirty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 </a:t>
            </a:r>
            <a:r>
              <a:rPr lang="de-DE" sz="3200" b="0" dirty="0" err="1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You</a:t>
            </a:r>
            <a:r>
              <a:rPr lang="de-DE" sz="3200" b="0" dirty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62BED932-9411-4A51-BD49-18BBE3E915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936788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69E6D455-C132-4E88-A034-2DD452FAE2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233460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epartment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3C480363-0218-48FE-B0FF-0B9723D696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530132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hone </a:t>
            </a:r>
            <a:r>
              <a:rPr lang="de-DE" dirty="0" err="1"/>
              <a:t>number</a:t>
            </a:r>
            <a:endParaRPr lang="de-DE" dirty="0"/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79A091A-16DF-4ED4-8F2A-D9DAA74E85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826804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E-mail</a:t>
            </a:r>
            <a:r>
              <a:rPr lang="de-DE" dirty="0"/>
              <a:t> </a:t>
            </a:r>
            <a:r>
              <a:rPr lang="de-DE" dirty="0" err="1"/>
              <a:t>address</a:t>
            </a:r>
            <a:endParaRPr lang="de-DE" dirty="0"/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6621EF4D-0771-4F49-AB73-A397AB93F78A}"/>
              </a:ext>
            </a:extLst>
          </p:cNvPr>
          <p:cNvGrpSpPr/>
          <p:nvPr userDrawn="1"/>
        </p:nvGrpSpPr>
        <p:grpSpPr>
          <a:xfrm>
            <a:off x="496888" y="3304977"/>
            <a:ext cx="625992" cy="600256"/>
            <a:chOff x="11143231" y="5812561"/>
            <a:chExt cx="793338" cy="793338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F42A3D89-BD99-4048-8459-10A5D65A6094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latin typeface="+mn-lt"/>
              </a:endParaRPr>
            </a:p>
          </p:txBody>
        </p:sp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6F379F57-479A-41E5-BDAD-7B82B8252D1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98721665"/>
      </p:ext>
    </p:extLst>
  </p:cSld>
  <p:clrMapOvr>
    <a:masterClrMapping/>
  </p:clrMapOvr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folie_TRUMPF_blauer_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35AB8D3-879C-4A4F-950C-90B94A025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5266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35AB8D3-879C-4A4F-950C-90B94A025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65F6AC04-030C-4BCC-A3A7-AF1039A13B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11DEA8D2-FDD7-4795-B21E-9915A184E9F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F99E2F4-A647-42B3-A69E-350292FFE0F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9FB0AAD3-B649-2A4A-9958-5AE5CA57149D}"/>
              </a:ext>
            </a:extLst>
          </p:cNvPr>
          <p:cNvSpPr/>
          <p:nvPr userDrawn="1"/>
        </p:nvSpPr>
        <p:spPr>
          <a:xfrm>
            <a:off x="1" y="3381979"/>
            <a:ext cx="4619412" cy="2673382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8" name="Titel 4">
            <a:extLst>
              <a:ext uri="{FF2B5EF4-FFF2-40B4-BE49-F238E27FC236}">
                <a16:creationId xmlns:a16="http://schemas.microsoft.com/office/drawing/2014/main" id="{68A18138-9391-AF45-8382-94D7791BA496}"/>
              </a:ext>
            </a:extLst>
          </p:cNvPr>
          <p:cNvSpPr txBox="1">
            <a:spLocks/>
          </p:cNvSpPr>
          <p:nvPr userDrawn="1"/>
        </p:nvSpPr>
        <p:spPr>
          <a:xfrm>
            <a:off x="515938" y="4606370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>
                <a:solidFill>
                  <a:srgbClr val="5F5F5F"/>
                </a:solidFill>
                <a:latin typeface="+mj-lt"/>
              </a:rPr>
              <a:t>Ansprechpartner</a:t>
            </a:r>
          </a:p>
        </p:txBody>
      </p:sp>
      <p:sp>
        <p:nvSpPr>
          <p:cNvPr id="19" name="Titel 4">
            <a:extLst>
              <a:ext uri="{FF2B5EF4-FFF2-40B4-BE49-F238E27FC236}">
                <a16:creationId xmlns:a16="http://schemas.microsoft.com/office/drawing/2014/main" id="{3DDDD31B-E576-7142-8AF2-55D312AE22B7}"/>
              </a:ext>
            </a:extLst>
          </p:cNvPr>
          <p:cNvSpPr txBox="1">
            <a:spLocks/>
          </p:cNvSpPr>
          <p:nvPr userDrawn="1"/>
        </p:nvSpPr>
        <p:spPr>
          <a:xfrm>
            <a:off x="515938" y="3650039"/>
            <a:ext cx="3611394" cy="6575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600" b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Vielen Dank.</a:t>
            </a:r>
          </a:p>
        </p:txBody>
      </p:sp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6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 dirty="0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9BA4CA5-E0A3-8A42-9EA4-6A92C15B41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893095"/>
            <a:ext cx="2306425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5F6F4EDA-1900-9641-B7E9-6EE1212445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088167"/>
            <a:ext cx="2306425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bteilung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5AFD2953-E35C-8147-8A6E-70D8068FEB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283239"/>
            <a:ext cx="2306425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lefonnummer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26B8DF3F-AF05-AB4A-8DD1-37D9E3451E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478311"/>
            <a:ext cx="2306425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-Mailadresse</a:t>
            </a:r>
          </a:p>
        </p:txBody>
      </p:sp>
    </p:spTree>
    <p:extLst>
      <p:ext uri="{BB962C8B-B14F-4D97-AF65-F5344CB8AC3E}">
        <p14:creationId xmlns:p14="http://schemas.microsoft.com/office/powerpoint/2010/main" val="3293211059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2061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5914800" cy="6858000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de-DE" sz="1400" b="0" dirty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</a:t>
            </a:r>
            <a:r>
              <a:rPr lang="en-US" dirty="0"/>
              <a:t>Add image by clicking icon</a:t>
            </a:r>
          </a:p>
          <a:p>
            <a:pPr lvl="0" algn="ctr"/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07B9287-55AF-8048-9FEA-2A80D60D667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79900" y="5849230"/>
            <a:ext cx="720000" cy="720000"/>
          </a:xfrm>
          <a:prstGeom prst="rect">
            <a:avLst/>
          </a:prstGeom>
        </p:spPr>
      </p:pic>
      <p:sp>
        <p:nvSpPr>
          <p:cNvPr id="12" name="Untertitel 2">
            <a:extLst>
              <a:ext uri="{FF2B5EF4-FFF2-40B4-BE49-F238E27FC236}">
                <a16:creationId xmlns:a16="http://schemas.microsoft.com/office/drawing/2014/main" id="{6917DA5D-DFE8-7C4C-8AB4-CAC5CA368F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6064" y="1499263"/>
            <a:ext cx="1784820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 I </a:t>
            </a:r>
            <a:r>
              <a:rPr lang="de-DE" dirty="0" err="1"/>
              <a:t>Overline</a:t>
            </a:r>
            <a:endParaRPr lang="de-DE" dirty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E4B09D7-D09D-1144-A835-68CC3D5E8A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76063" y="1745628"/>
            <a:ext cx="4782951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6D46DD6D-39B6-7346-8FB3-30800BFB33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76064" y="3241250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50000"/>
                  </a:schemeClr>
                </a:solidFill>
                <a:latin typeface="+mn-lt"/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721218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3FEF4F-8B79-41EE-AB78-33ED69B9B3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5907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3FEF4F-8B79-41EE-AB78-33ED69B9B3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1483200"/>
            <a:ext cx="11160125" cy="43452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Mastertextformat bearbeiten I Edit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8D4C688C-3055-41E2-8896-2737A0573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4" name="Fußzeilenplatzhalter 3">
            <a:extLst>
              <a:ext uri="{FF2B5EF4-FFF2-40B4-BE49-F238E27FC236}">
                <a16:creationId xmlns:a16="http://schemas.microsoft.com/office/drawing/2014/main" id="{DBC6C2D0-1056-4181-81F1-C02E4CC91E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5" name="Datumsplatzhalter 8">
            <a:extLst>
              <a:ext uri="{FF2B5EF4-FFF2-40B4-BE49-F238E27FC236}">
                <a16:creationId xmlns:a16="http://schemas.microsoft.com/office/drawing/2014/main" id="{96942B6F-6432-449E-93DB-86445774FF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13CB332E-BBCB-48A0-9BB4-8D3541D6C39B}" type="datetime1">
              <a:rPr lang="de-DE"/>
              <a:pPr/>
              <a:t>21.04.2023</a:t>
            </a:fld>
            <a:endParaRPr lang="de-DE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CA9C2964-0719-47E8-B997-EB6B1C4FEB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868362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57353778-6374-4EA7-B04D-325A62A573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8584171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CD7C520-2B80-4E26-8B78-40EFBE6A97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6090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CD7C520-2B80-4E26-8B78-40EFBE6A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1">
            <a:extLst>
              <a:ext uri="{FF2B5EF4-FFF2-40B4-BE49-F238E27FC236}">
                <a16:creationId xmlns:a16="http://schemas.microsoft.com/office/drawing/2014/main" id="{B82A4D46-B04A-A54F-A04D-B0F85C6D0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88441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8D6160A-CFC0-3346-A4DF-C308B2C5A1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5938" y="831428"/>
            <a:ext cx="11160000" cy="305989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823985D0-4F3A-4F8D-ACB8-C2D8748D7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DD2F819B-3D0D-4E9C-B6A3-323FEE2D96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6" name="Datumsplatzhalter 8">
            <a:extLst>
              <a:ext uri="{FF2B5EF4-FFF2-40B4-BE49-F238E27FC236}">
                <a16:creationId xmlns:a16="http://schemas.microsoft.com/office/drawing/2014/main" id="{D0448C96-C7A5-4D51-ADCB-AC08FC3B74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5DA7FF69-A313-4F2A-9ACF-B2708096E846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3384633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_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CD7C520-2B80-4E26-8B78-40EFBE6A97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1245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CD7C520-2B80-4E26-8B78-40EFBE6A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823985D0-4F3A-4F8D-ACB8-C2D8748D7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DD2F819B-3D0D-4E9C-B6A3-323FEE2D96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6" name="Datumsplatzhalter 8">
            <a:extLst>
              <a:ext uri="{FF2B5EF4-FFF2-40B4-BE49-F238E27FC236}">
                <a16:creationId xmlns:a16="http://schemas.microsoft.com/office/drawing/2014/main" id="{D0448C96-C7A5-4D51-ADCB-AC08FC3B74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56132AF8-E6E5-4F83-A188-B582FA4CEA31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6895763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einspaltig - Voxe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D685BFB-D671-4679-B5D3-8FD43F8B22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2985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D685BFB-D671-4679-B5D3-8FD43F8B22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4B6B9AD3-3F00-7D4E-B5FC-C5719D0DD80D}"/>
              </a:ext>
            </a:extLst>
          </p:cNvPr>
          <p:cNvCxnSpPr>
            <a:cxnSpLocks/>
          </p:cNvCxnSpPr>
          <p:nvPr userDrawn="1"/>
        </p:nvCxnSpPr>
        <p:spPr>
          <a:xfrm>
            <a:off x="1105471" y="2996952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CAB67B07-7D49-6C44-A17D-F74342B5E325}"/>
              </a:ext>
            </a:extLst>
          </p:cNvPr>
          <p:cNvCxnSpPr>
            <a:cxnSpLocks/>
          </p:cNvCxnSpPr>
          <p:nvPr userDrawn="1"/>
        </p:nvCxnSpPr>
        <p:spPr>
          <a:xfrm>
            <a:off x="1105471" y="2144197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AC010830-86B9-C64C-B1BC-C9FB62472E5D}"/>
              </a:ext>
            </a:extLst>
          </p:cNvPr>
          <p:cNvCxnSpPr>
            <a:cxnSpLocks/>
          </p:cNvCxnSpPr>
          <p:nvPr userDrawn="1"/>
        </p:nvCxnSpPr>
        <p:spPr>
          <a:xfrm>
            <a:off x="1105471" y="3839433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C848782-2386-A041-9A46-07911EBFE5AC}"/>
              </a:ext>
            </a:extLst>
          </p:cNvPr>
          <p:cNvCxnSpPr>
            <a:cxnSpLocks/>
          </p:cNvCxnSpPr>
          <p:nvPr userDrawn="1"/>
        </p:nvCxnSpPr>
        <p:spPr>
          <a:xfrm>
            <a:off x="1105471" y="4681914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E8A25F60-4875-8645-9A90-72BA1FBE9B78}"/>
              </a:ext>
            </a:extLst>
          </p:cNvPr>
          <p:cNvCxnSpPr>
            <a:cxnSpLocks/>
          </p:cNvCxnSpPr>
          <p:nvPr userDrawn="1"/>
        </p:nvCxnSpPr>
        <p:spPr>
          <a:xfrm>
            <a:off x="1105471" y="5524395"/>
            <a:ext cx="100818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itel 1">
            <a:extLst>
              <a:ext uri="{FF2B5EF4-FFF2-40B4-BE49-F238E27FC236}">
                <a16:creationId xmlns:a16="http://schemas.microsoft.com/office/drawing/2014/main" id="{18521BE8-5909-1341-83B4-0E41D352A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537" y="301625"/>
            <a:ext cx="10696750" cy="532491"/>
          </a:xfrm>
        </p:spPr>
        <p:txBody>
          <a:bodyPr vert="horz" anchor="t"/>
          <a:lstStyle>
            <a:lvl1pPr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BD77588C-69B2-C641-B092-19A59DCE81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5470" y="1401342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F434AE1E-29E2-5449-B088-AD3C8F02F63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105470" y="225248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2629D5EB-E950-7E4D-9619-A2528E5D57C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105470" y="3096364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80CA97F6-28AB-6948-B250-0DF39A5564E3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105470" y="393531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3C075969-5560-8F46-A28E-3E50D8BA4891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105470" y="477276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D8E69C90-061D-B34A-B3D1-27875EF910D4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105470" y="564829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7FA608A6-6269-AB45-A0B6-11A8BB5290CB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95196" y="1401342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DF6AB0AC-AE16-9D4D-BBB6-06F3D5F02E4B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95196" y="2247055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6EE836E5-E80F-9748-9397-905CF65A4B2D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495196" y="309636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52" name="Textplatzhalter 2">
            <a:extLst>
              <a:ext uri="{FF2B5EF4-FFF2-40B4-BE49-F238E27FC236}">
                <a16:creationId xmlns:a16="http://schemas.microsoft.com/office/drawing/2014/main" id="{A66093A6-6BF6-214C-9306-E65A166AD68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95196" y="393982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14BDD226-D431-6844-922C-D686D5852ADF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495196" y="477727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C7C98DAB-F31D-B54E-BC3E-72C09025DF9B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495196" y="5650551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2851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0788E740-D689-461B-AB02-1F21EF38D72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0538" y="869528"/>
            <a:ext cx="10696751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8" name="Foliennummernplatzhalter 5">
            <a:extLst>
              <a:ext uri="{FF2B5EF4-FFF2-40B4-BE49-F238E27FC236}">
                <a16:creationId xmlns:a16="http://schemas.microsoft.com/office/drawing/2014/main" id="{44FA6EF9-1E39-4805-993E-741144B3A1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9" name="Fußzeilenplatzhalter 3">
            <a:extLst>
              <a:ext uri="{FF2B5EF4-FFF2-40B4-BE49-F238E27FC236}">
                <a16:creationId xmlns:a16="http://schemas.microsoft.com/office/drawing/2014/main" id="{E7D1CE9B-9F3B-45F1-A4A5-E9E96C9D4F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0" name="Datumsplatzhalter 8">
            <a:extLst>
              <a:ext uri="{FF2B5EF4-FFF2-40B4-BE49-F238E27FC236}">
                <a16:creationId xmlns:a16="http://schemas.microsoft.com/office/drawing/2014/main" id="{E5EFCC90-CE63-48AF-A0FF-289C0EAB44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8004286B-6BD6-47E5-947C-C03EF86DC84F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061362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86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einspaltig - Voxe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D685BFB-D671-4679-B5D3-8FD43F8B22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114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D685BFB-D671-4679-B5D3-8FD43F8B22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D1D721CD-D314-4FC2-92E6-00D32E4C2B6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>
              <a:solidFill>
                <a:schemeClr val="bg1"/>
              </a:solidFill>
            </a:endParaRPr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4B6B9AD3-3F00-7D4E-B5FC-C5719D0DD80D}"/>
              </a:ext>
            </a:extLst>
          </p:cNvPr>
          <p:cNvCxnSpPr>
            <a:cxnSpLocks/>
          </p:cNvCxnSpPr>
          <p:nvPr userDrawn="1"/>
        </p:nvCxnSpPr>
        <p:spPr>
          <a:xfrm>
            <a:off x="1105471" y="2996952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CAB67B07-7D49-6C44-A17D-F74342B5E325}"/>
              </a:ext>
            </a:extLst>
          </p:cNvPr>
          <p:cNvCxnSpPr>
            <a:cxnSpLocks/>
          </p:cNvCxnSpPr>
          <p:nvPr userDrawn="1"/>
        </p:nvCxnSpPr>
        <p:spPr>
          <a:xfrm>
            <a:off x="1105471" y="2144197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Gerade Verbindung 24">
            <a:extLst>
              <a:ext uri="{FF2B5EF4-FFF2-40B4-BE49-F238E27FC236}">
                <a16:creationId xmlns:a16="http://schemas.microsoft.com/office/drawing/2014/main" id="{AC010830-86B9-C64C-B1BC-C9FB62472E5D}"/>
              </a:ext>
            </a:extLst>
          </p:cNvPr>
          <p:cNvCxnSpPr>
            <a:cxnSpLocks/>
          </p:cNvCxnSpPr>
          <p:nvPr userDrawn="1"/>
        </p:nvCxnSpPr>
        <p:spPr>
          <a:xfrm>
            <a:off x="1105471" y="3839433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EC848782-2386-A041-9A46-07911EBFE5AC}"/>
              </a:ext>
            </a:extLst>
          </p:cNvPr>
          <p:cNvCxnSpPr>
            <a:cxnSpLocks/>
          </p:cNvCxnSpPr>
          <p:nvPr userDrawn="1"/>
        </p:nvCxnSpPr>
        <p:spPr>
          <a:xfrm>
            <a:off x="1105471" y="4681914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E8A25F60-4875-8645-9A90-72BA1FBE9B78}"/>
              </a:ext>
            </a:extLst>
          </p:cNvPr>
          <p:cNvCxnSpPr>
            <a:cxnSpLocks/>
          </p:cNvCxnSpPr>
          <p:nvPr userDrawn="1"/>
        </p:nvCxnSpPr>
        <p:spPr>
          <a:xfrm>
            <a:off x="1105471" y="5524395"/>
            <a:ext cx="100818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itel 1">
            <a:extLst>
              <a:ext uri="{FF2B5EF4-FFF2-40B4-BE49-F238E27FC236}">
                <a16:creationId xmlns:a16="http://schemas.microsoft.com/office/drawing/2014/main" id="{18521BE8-5909-1341-83B4-0E41D352A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537" y="301625"/>
            <a:ext cx="10696750" cy="532491"/>
          </a:xfrm>
        </p:spPr>
        <p:txBody>
          <a:bodyPr vert="horz" anchor="t"/>
          <a:lstStyle>
            <a:lvl1pPr>
              <a:lnSpc>
                <a:spcPct val="100000"/>
              </a:lnSpc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BD77588C-69B2-C641-B092-19A59DCE81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5470" y="1401342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F434AE1E-29E2-5449-B088-AD3C8F02F63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105470" y="225248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2629D5EB-E950-7E4D-9619-A2528E5D57C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105470" y="3096364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80CA97F6-28AB-6948-B250-0DF39A5564E3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105470" y="393531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3C075969-5560-8F46-A28E-3E50D8BA4891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105470" y="477276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D8E69C90-061D-B34A-B3D1-27875EF910D4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105470" y="5648298"/>
            <a:ext cx="10081819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7FA608A6-6269-AB45-A0B6-11A8BB5290CB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95196" y="1401342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DF6AB0AC-AE16-9D4D-BBB6-06F3D5F02E4B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95196" y="2247055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6EE836E5-E80F-9748-9397-905CF65A4B2D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495196" y="309636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52" name="Textplatzhalter 2">
            <a:extLst>
              <a:ext uri="{FF2B5EF4-FFF2-40B4-BE49-F238E27FC236}">
                <a16:creationId xmlns:a16="http://schemas.microsoft.com/office/drawing/2014/main" id="{A66093A6-6BF6-214C-9306-E65A166AD682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95196" y="393982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14BDD226-D431-6844-922C-D686D5852ADF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495196" y="4777274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C7C98DAB-F31D-B54E-BC3E-72C09025DF9B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495196" y="5650551"/>
            <a:ext cx="610274" cy="7275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err="1"/>
              <a:t>no</a:t>
            </a:r>
            <a:endParaRPr lang="de-DE" dirty="0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0788E740-D689-461B-AB02-1F21EF38D72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0538" y="869528"/>
            <a:ext cx="10696751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bg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</a:t>
            </a:r>
            <a:endParaRPr lang="de-DE" dirty="0"/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09C8CD4A-2062-4B66-820D-DCB121B96D77}"/>
              </a:ext>
            </a:extLst>
          </p:cNvPr>
          <p:cNvGrpSpPr/>
          <p:nvPr userDrawn="1"/>
        </p:nvGrpSpPr>
        <p:grpSpPr>
          <a:xfrm>
            <a:off x="11483199" y="6155690"/>
            <a:ext cx="491016" cy="491016"/>
            <a:chOff x="11143231" y="5812561"/>
            <a:chExt cx="793338" cy="793338"/>
          </a:xfrm>
        </p:grpSpPr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49B68A89-20A9-4C7B-AE8D-DF07162AF936}"/>
                </a:ext>
              </a:extLst>
            </p:cNvPr>
            <p:cNvSpPr/>
            <p:nvPr userDrawn="1"/>
          </p:nvSpPr>
          <p:spPr>
            <a:xfrm>
              <a:off x="11143231" y="5812561"/>
              <a:ext cx="793338" cy="7933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>
                <a:solidFill>
                  <a:schemeClr val="bg1"/>
                </a:solidFill>
                <a:latin typeface="+mn-lt"/>
              </a:endParaRPr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6C20FC07-8762-4FAF-B834-1F9942ED211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179900" y="5849230"/>
              <a:ext cx="720000" cy="720000"/>
            </a:xfrm>
            <a:prstGeom prst="rect">
              <a:avLst/>
            </a:prstGeom>
          </p:spPr>
        </p:pic>
      </p:grpSp>
      <p:sp>
        <p:nvSpPr>
          <p:cNvPr id="31" name="Foliennummernplatzhalter 5">
            <a:extLst>
              <a:ext uri="{FF2B5EF4-FFF2-40B4-BE49-F238E27FC236}">
                <a16:creationId xmlns:a16="http://schemas.microsoft.com/office/drawing/2014/main" id="{1743C64A-7DAA-4CB0-840E-8DC33B54AC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/>
              <a:pPr/>
              <a:t>‹#›</a:t>
            </a:fld>
            <a:r>
              <a:rPr lang="de-DE"/>
              <a:t>  </a:t>
            </a:r>
            <a:r>
              <a:rPr lang="de-DE" b="0"/>
              <a:t>|</a:t>
            </a:r>
            <a:endParaRPr lang="de-DE" sz="900" b="0" dirty="0"/>
          </a:p>
        </p:txBody>
      </p:sp>
      <p:sp>
        <p:nvSpPr>
          <p:cNvPr id="32" name="Fußzeilenplatzhalter 3">
            <a:extLst>
              <a:ext uri="{FF2B5EF4-FFF2-40B4-BE49-F238E27FC236}">
                <a16:creationId xmlns:a16="http://schemas.microsoft.com/office/drawing/2014/main" id="{C7D39358-BF92-4B32-839F-D10898559C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3" name="Datumsplatzhalter 8">
            <a:extLst>
              <a:ext uri="{FF2B5EF4-FFF2-40B4-BE49-F238E27FC236}">
                <a16:creationId xmlns:a16="http://schemas.microsoft.com/office/drawing/2014/main" id="{8C3CA609-D3D2-4EDB-8902-9B5570BE9E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E8A64FFD-AF22-46ED-BA3E-85A78D4AACAA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834484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86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139334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6" imgW="353" imgH="353" progId="TCLayout.ActiveDocument.1">
                  <p:embed/>
                </p:oleObj>
              </mc:Choice>
              <mc:Fallback>
                <p:oleObj name="think-cell Folie" r:id="rId36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EE5D475-DF19-4144-995E-F7C3970B8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40234"/>
            <a:ext cx="11160125" cy="6408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 I Edit </a:t>
            </a:r>
            <a:r>
              <a:rPr lang="de-DE" dirty="0" err="1"/>
              <a:t>master</a:t>
            </a:r>
            <a:r>
              <a:rPr lang="de-DE" dirty="0"/>
              <a:t> title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262849"/>
            <a:ext cx="11160125" cy="4722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Sechste Ebene</a:t>
            </a:r>
            <a:endParaRPr lang="de-DE" b="0" i="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3E9BB6-5D8A-8147-AD61-F2C10BA132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983328E-748D-3F4E-9827-CEDBAE65A3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DB09A8C-0A47-46B9-974A-D9A1F4E4F2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652744B0-1041-4D97-8952-1A05313A3095}" type="datetime1">
              <a:rPr lang="de-DE"/>
              <a:pPr/>
              <a:t>21.04.2023</a:t>
            </a:fld>
            <a:endParaRPr lang="de-DE" dirty="0"/>
          </a:p>
        </p:txBody>
      </p:sp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3B045111-8DB6-4E89-8ACE-F9267DF8EF55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/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239DDAB-314C-9C40-96CC-A765D274E23F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11468099" y="6131379"/>
            <a:ext cx="532492" cy="532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307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  <p:sldLayoutId id="2147483712" r:id="rId28"/>
    <p:sldLayoutId id="2147483713" r:id="rId29"/>
    <p:sldLayoutId id="2147483714" r:id="rId30"/>
    <p:sldLayoutId id="2147483715" r:id="rId31"/>
    <p:sldLayoutId id="2147483716" r:id="rId32"/>
  </p:sldLayoutIdLst>
  <p:hf hdr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n-lt"/>
          <a:ea typeface="+mj-ea"/>
          <a:cs typeface="Arial" panose="020B0604020202020204" pitchFamily="34" charset="0"/>
        </a:defRPr>
      </a:lvl1pPr>
    </p:titleStyle>
    <p:bodyStyle>
      <a:lvl1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Wingdings" pitchFamily="2" charset="2"/>
        <a:buNone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216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32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48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64000" indent="-216000" algn="l" defTabSz="914355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Wingdings" pitchFamily="2" charset="2"/>
        <a:buChar char="§"/>
        <a:defRPr lang="de-DE" sz="160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0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512000" indent="-216000" algn="l" defTabSz="914355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>
          <p15:clr>
            <a:srgbClr val="F26B43"/>
          </p15:clr>
        </p15:guide>
        <p15:guide id="4" pos="7537">
          <p15:clr>
            <a:srgbClr val="F26B43"/>
          </p15:clr>
        </p15:guide>
        <p15:guide id="7" orient="horz" pos="210">
          <p15:clr>
            <a:srgbClr val="F26B43"/>
          </p15:clr>
        </p15:guide>
        <p15:guide id="8" orient="horz" pos="3997">
          <p15:clr>
            <a:srgbClr val="F26B43"/>
          </p15:clr>
        </p15:guide>
        <p15:guide id="9" pos="7355">
          <p15:clr>
            <a:srgbClr val="F26B43"/>
          </p15:clr>
        </p15:guide>
        <p15:guide id="10" orient="horz" pos="618">
          <p15:clr>
            <a:srgbClr val="F26B43"/>
          </p15:clr>
        </p15:guide>
        <p15:guide id="12" orient="horz" pos="377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F6C6B84-7B30-33AE-381E-F31FB9F4FAD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 amt="6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94" b="9479"/>
          <a:stretch/>
        </p:blipFill>
        <p:spPr>
          <a:xfrm>
            <a:off x="20" y="0"/>
            <a:ext cx="12191980" cy="685799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172201 h 6858000"/>
              <a:gd name="connsiteX5" fmla="*/ 5400000 w 12192000"/>
              <a:gd name="connsiteY5" fmla="*/ 6172201 h 6858000"/>
              <a:gd name="connsiteX6" fmla="*/ 5400000 w 12192000"/>
              <a:gd name="connsiteY6" fmla="*/ 3076575 h 6858000"/>
              <a:gd name="connsiteX7" fmla="*/ 0 w 12192000"/>
              <a:gd name="connsiteY7" fmla="*/ 3076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172201"/>
                </a:lnTo>
                <a:lnTo>
                  <a:pt x="5400000" y="6172201"/>
                </a:lnTo>
                <a:lnTo>
                  <a:pt x="5400000" y="3076575"/>
                </a:lnTo>
                <a:lnTo>
                  <a:pt x="0" y="3076575"/>
                </a:lnTo>
                <a:close/>
              </a:path>
            </a:pathLst>
          </a:custGeom>
          <a:noFill/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97C56BC8-AD9E-7DEC-4147-45525CFED501}"/>
              </a:ext>
            </a:extLst>
          </p:cNvPr>
          <p:cNvSpPr txBox="1"/>
          <p:nvPr/>
        </p:nvSpPr>
        <p:spPr>
          <a:xfrm>
            <a:off x="300038" y="4526095"/>
            <a:ext cx="4838494" cy="1064355"/>
          </a:xfrm>
          <a:prstGeom prst="rect">
            <a:avLst/>
          </a:prstGeom>
          <a:noFill/>
          <a:effectLst/>
        </p:spPr>
        <p:txBody>
          <a:bodyPr vert="horz" lIns="198000" tIns="0" rIns="0" bIns="0" rtlCol="0" anchor="b" anchorCtr="0">
            <a:normAutofit/>
          </a:bodyPr>
          <a:lstStyle/>
          <a:p>
            <a:pPr defTabSz="914355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de-DE" sz="3600" b="0" kern="1200" cap="none" baseline="0" dirty="0">
                <a:latin typeface="+mn-lt"/>
                <a:ea typeface="+mj-ea"/>
                <a:cs typeface="Arial" panose="020B0604020202020204" pitchFamily="34" charset="0"/>
              </a:rPr>
              <a:t>Masterplanung </a:t>
            </a:r>
          </a:p>
          <a:p>
            <a:pPr defTabSz="914355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de-DE" sz="3600" b="0" kern="1200" cap="none" baseline="0" dirty="0">
                <a:latin typeface="+mn-lt"/>
                <a:ea typeface="+mj-ea"/>
                <a:cs typeface="Arial" panose="020B0604020202020204" pitchFamily="34" charset="0"/>
              </a:rPr>
              <a:t>TRUMPF Hetting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FDF9AAE-1B89-9D48-2C18-535E749206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19356" y="5712436"/>
            <a:ext cx="4782950" cy="215444"/>
          </a:xfrm>
        </p:spPr>
        <p:txBody>
          <a:bodyPr vert="horz" wrap="none" lIns="216000" tIns="0" rIns="0" bIns="0" rtlCol="0" anchor="ctr">
            <a:normAutofit/>
          </a:bodyPr>
          <a:lstStyle/>
          <a:p>
            <a:r>
              <a:rPr lang="de-DE" b="0" kern="1200" dirty="0">
                <a:latin typeface="+mn-lt"/>
                <a:ea typeface="+mn-ea"/>
                <a:cs typeface="Arial" panose="020B0604020202020204" pitchFamily="34" charset="0"/>
              </a:rPr>
              <a:t>Steffen Braun </a:t>
            </a:r>
            <a:r>
              <a:rPr lang="de-DE" dirty="0"/>
              <a:t>| Head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Operations</a:t>
            </a:r>
            <a:endParaRPr lang="de-DE" b="0" kern="1200" dirty="0"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A3557E6C-4376-C4D1-6F34-BB6BA9238AED}"/>
              </a:ext>
            </a:extLst>
          </p:cNvPr>
          <p:cNvSpPr txBox="1"/>
          <p:nvPr/>
        </p:nvSpPr>
        <p:spPr>
          <a:xfrm>
            <a:off x="447955" y="4027593"/>
            <a:ext cx="609824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b="0" i="0" u="none" strike="noStrike" dirty="0">
                <a:solidFill>
                  <a:srgbClr val="333333"/>
                </a:solidFill>
                <a:effectLst/>
                <a:latin typeface="Segoe UI" panose="020B0502040204020203" pitchFamily="34" charset="0"/>
              </a:rPr>
              <a:t>Lean Lernreise | 27.04.2023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41764274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/>
          <a:srcRect t="7880"/>
          <a:stretch/>
        </p:blipFill>
        <p:spPr>
          <a:xfrm>
            <a:off x="1246291" y="149412"/>
            <a:ext cx="10230026" cy="6653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3393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/>
          <a:srcRect t="7113" r="75" b="-212"/>
          <a:stretch/>
        </p:blipFill>
        <p:spPr>
          <a:xfrm>
            <a:off x="1014703" y="76655"/>
            <a:ext cx="10312020" cy="6778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1363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/>
          <a:srcRect t="5889" r="77" b="-86"/>
          <a:stretch/>
        </p:blipFill>
        <p:spPr>
          <a:xfrm>
            <a:off x="895174" y="46773"/>
            <a:ext cx="10058019" cy="6702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7824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/>
          <a:srcRect t="7743" r="77" b="-86"/>
          <a:stretch/>
        </p:blipFill>
        <p:spPr>
          <a:xfrm>
            <a:off x="812997" y="248479"/>
            <a:ext cx="10125255" cy="6613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7448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/>
          <a:srcRect t="6434" r="77" b="-86"/>
          <a:stretch/>
        </p:blipFill>
        <p:spPr>
          <a:xfrm>
            <a:off x="850350" y="181244"/>
            <a:ext cx="10087902" cy="6680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7517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/>
          <a:srcRect t="6870" r="77" b="-86"/>
          <a:stretch/>
        </p:blipFill>
        <p:spPr>
          <a:xfrm>
            <a:off x="566468" y="69185"/>
            <a:ext cx="10304550" cy="679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0021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/>
          <a:srcRect t="6652" r="77" b="-86"/>
          <a:stretch/>
        </p:blipFill>
        <p:spPr>
          <a:xfrm>
            <a:off x="745762" y="121479"/>
            <a:ext cx="10192490" cy="6740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147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SHOW_DATE" val="True"/>
  <p:tag name="MIO_SHOW_FOOTER" val="True"/>
  <p:tag name="MIO_SHOW_PAGENUMBER" val="True"/>
  <p:tag name="MIO_AVOID_BLANK_LAYOUT" val="True"/>
  <p:tag name="MIO_CD_LAYOUT_VALID_AREA" val="False"/>
  <p:tag name="MIO_EMBED_FONT" val="False"/>
  <p:tag name="MIO_MATCH_COLOR_SCHEME" val="False"/>
  <p:tag name="MIO_HDS" val="True"/>
  <p:tag name="MIO_SKIPVERSION" val="01.01.0001 00:00:00"/>
  <p:tag name="MIO_UPDATE" val="True"/>
  <p:tag name="MIO_DBID" val="8236CE71-3243-41A3-904F-7EA9E80C736A"/>
  <p:tag name="MIO_LASTEDITORNAME" val="Katharina Kampen"/>
  <p:tag name="MIO_FALLBACK_LAYOUT" val="6"/>
  <p:tag name="MIO_NUMBER_OF_VALID_LAYOUTS" val="32"/>
  <p:tag name="MIO_EKGUID" val="d2fd8906-871d-4fd1-b428-ee99b0e833c8"/>
  <p:tag name="MIO_VERSION" val="06.12.2022 14:00:15"/>
  <p:tag name="MIO_OBJECTNAME" val="NEW 22 TRUMPF - DE | EN"/>
  <p:tag name="MIO_LASTDOWNLOADED" val="21.04.2023 11:30:45.020"/>
  <p:tag name="MIO_CDID" val="d30371fb-bd2b-4816-a0ce-bd6a1479ab6b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3.05.2022 12:06:36.734"/>
  <p:tag name="MIO_OBJECTNAME" val="Hauptpforte"/>
  <p:tag name="MIO_LASTEDITORNAME" val="empower Brandin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3.05.2022 12:06:36.734"/>
  <p:tag name="MIO_OBJECTNAME" val="Hauptpforte"/>
  <p:tag name="MIO_LASTEDITORNAME" val="empower Brandin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rumpf PowerPoint 2019">
  <a:themeElements>
    <a:clrScheme name="Trumpf dezent">
      <a:dk1>
        <a:srgbClr val="333333"/>
      </a:dk1>
      <a:lt1>
        <a:srgbClr val="FFFFFF"/>
      </a:lt1>
      <a:dk2>
        <a:srgbClr val="285172"/>
      </a:dk2>
      <a:lt2>
        <a:srgbClr val="FFFFFF"/>
      </a:lt2>
      <a:accent1>
        <a:srgbClr val="575757"/>
      </a:accent1>
      <a:accent2>
        <a:srgbClr val="D0D0D0"/>
      </a:accent2>
      <a:accent3>
        <a:srgbClr val="285172"/>
      </a:accent3>
      <a:accent4>
        <a:srgbClr val="8094AF"/>
      </a:accent4>
      <a:accent5>
        <a:srgbClr val="BBD03A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72000" rIns="72000" bIns="72000"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D746A209-D3A0-42EF-988A-4829135B642B}" vid="{7DF3D1B1-4C56-472B-9565-3D7A511C20E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c70353-449a-458c-af38-81fd801b6559" xsi:nil="true"/>
    <lcf76f155ced4ddcb4097134ff3c332f xmlns="46a56ff4-038c-43a1-8198-66df79d5b4f2">
      <Terms xmlns="http://schemas.microsoft.com/office/infopath/2007/PartnerControls"/>
    </lcf76f155ced4ddcb4097134ff3c332f>
    <Uhrzeit xmlns="46a56ff4-038c-43a1-8198-66df79d5b4f2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5DC99EB5B522442BFB271BE36A4F819" ma:contentTypeVersion="17" ma:contentTypeDescription="Ein neues Dokument erstellen." ma:contentTypeScope="" ma:versionID="a70fb71c8d03ff12ade853dbdbf2954b">
  <xsd:schema xmlns:xsd="http://www.w3.org/2001/XMLSchema" xmlns:xs="http://www.w3.org/2001/XMLSchema" xmlns:p="http://schemas.microsoft.com/office/2006/metadata/properties" xmlns:ns2="46a56ff4-038c-43a1-8198-66df79d5b4f2" xmlns:ns3="acc70353-449a-458c-af38-81fd801b6559" targetNamespace="http://schemas.microsoft.com/office/2006/metadata/properties" ma:root="true" ma:fieldsID="3065265883915d1102bea8f7b0131355" ns2:_="" ns3:_="">
    <xsd:import namespace="46a56ff4-038c-43a1-8198-66df79d5b4f2"/>
    <xsd:import namespace="acc70353-449a-458c-af38-81fd801b65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Uhrzeit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a56ff4-038c-43a1-8198-66df79d5b4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Uhrzeit" ma:index="18" nillable="true" ma:displayName="Uhrzeit" ma:format="DateOnly" ma:internalName="Uhrzeit">
      <xsd:simpleType>
        <xsd:restriction base="dms:DateTime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5e9485e2-df4f-4880-8a81-872be8114f5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70353-449a-458c-af38-81fd801b655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232400c1-fff9-468c-bdef-2fcd72bfa8a4}" ma:internalName="TaxCatchAll" ma:showField="CatchAllData" ma:web="acc70353-449a-458c-af38-81fd801b65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2F08144-EAEB-42D6-804D-4FFF6A19634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7A8048F-3A8E-440A-A981-6D8A1E0373CC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e9621dcd-59de-421f-9f04-04ef58d2cbc5"/>
    <ds:schemaRef ds:uri="http://purl.org/dc/elements/1.1/"/>
    <ds:schemaRef ds:uri="http://schemas.microsoft.com/office/2006/metadata/properties"/>
    <ds:schemaRef ds:uri="90ed1bf7-83fc-455d-ba27-00cceabe3758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A8D4335-E7CD-4A21-94BB-FFB4BC273997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3</Words>
  <Application>Microsoft Office PowerPoint</Application>
  <PresentationFormat>Widescreen</PresentationFormat>
  <Paragraphs>4</Paragraphs>
  <Slides>8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9" baseType="lpstr">
      <vt:lpstr>1_Trumpf PowerPoint 2019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yer, Michael</dc:creator>
  <cp:lastModifiedBy>Dreher, Petra</cp:lastModifiedBy>
  <cp:revision>24</cp:revision>
  <dcterms:created xsi:type="dcterms:W3CDTF">2023-04-19T14:24:39Z</dcterms:created>
  <dcterms:modified xsi:type="dcterms:W3CDTF">2023-04-21T10:40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DC99EB5B522442BFB271BE36A4F819</vt:lpwstr>
  </property>
  <property fmtid="{D5CDD505-2E9C-101B-9397-08002B2CF9AE}" pid="3" name="MediaServiceImageTags">
    <vt:lpwstr/>
  </property>
</Properties>
</file>